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notesSlides/notesSlide43.xml" ContentType="application/vnd.openxmlformats-officedocument.presentationml.notesSlide+xml"/>
  <Override PartName="/ppt/tags/tag46.xml" ContentType="application/vnd.openxmlformats-officedocument.presentationml.tags+xml"/>
  <Override PartName="/ppt/notesSlides/notesSlide44.xml" ContentType="application/vnd.openxmlformats-officedocument.presentationml.notesSlide+xml"/>
  <Override PartName="/ppt/tags/tag47.xml" ContentType="application/vnd.openxmlformats-officedocument.presentationml.tags+xml"/>
  <Override PartName="/ppt/notesSlides/notesSlide45.xml" ContentType="application/vnd.openxmlformats-officedocument.presentationml.notesSlide+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ppt/tags/tag50.xml" ContentType="application/vnd.openxmlformats-officedocument.presentationml.tags+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ppt/tags/tag56.xml" ContentType="application/vnd.openxmlformats-officedocument.presentationml.tags+xml"/>
  <Override PartName="/ppt/notesSlides/notesSlide54.xml" ContentType="application/vnd.openxmlformats-officedocument.presentationml.notesSlide+xml"/>
  <Override PartName="/ppt/tags/tag57.xml" ContentType="application/vnd.openxmlformats-officedocument.presentationml.tags+xml"/>
  <Override PartName="/ppt/notesSlides/notesSlide55.xml" ContentType="application/vnd.openxmlformats-officedocument.presentationml.notesSlide+xml"/>
  <Override PartName="/ppt/tags/tag58.xml" ContentType="application/vnd.openxmlformats-officedocument.presentationml.tags+xml"/>
  <Override PartName="/ppt/notesSlides/notesSlide56.xml" ContentType="application/vnd.openxmlformats-officedocument.presentationml.notesSlide+xml"/>
  <Override PartName="/ppt/tags/tag59.xml" ContentType="application/vnd.openxmlformats-officedocument.presentationml.tags+xml"/>
  <Override PartName="/ppt/notesSlides/notesSlide57.xml" ContentType="application/vnd.openxmlformats-officedocument.presentationml.notesSlide+xml"/>
  <Override PartName="/ppt/tags/tag60.xml" ContentType="application/vnd.openxmlformats-officedocument.presentationml.tags+xml"/>
  <Override PartName="/ppt/notesSlides/notesSlide58.xml" ContentType="application/vnd.openxmlformats-officedocument.presentationml.notesSlide+xml"/>
  <Override PartName="/ppt/tags/tag61.xml" ContentType="application/vnd.openxmlformats-officedocument.presentationml.tags+xml"/>
  <Override PartName="/ppt/notesSlides/notesSlide59.xml" ContentType="application/vnd.openxmlformats-officedocument.presentationml.notesSlide+xml"/>
  <Override PartName="/ppt/tags/tag62.xml" ContentType="application/vnd.openxmlformats-officedocument.presentationml.tags+xml"/>
  <Override PartName="/ppt/notesSlides/notesSlide60.xml" ContentType="application/vnd.openxmlformats-officedocument.presentationml.notesSlide+xml"/>
  <Override PartName="/ppt/tags/tag63.xml" ContentType="application/vnd.openxmlformats-officedocument.presentationml.tags+xml"/>
  <Override PartName="/ppt/notesSlides/notesSlide61.xml" ContentType="application/vnd.openxmlformats-officedocument.presentationml.notesSlide+xml"/>
  <Override PartName="/ppt/tags/tag64.xml" ContentType="application/vnd.openxmlformats-officedocument.presentationml.tags+xml"/>
  <Override PartName="/ppt/notesSlides/notesSlide62.xml" ContentType="application/vnd.openxmlformats-officedocument.presentationml.notesSlide+xml"/>
  <Override PartName="/ppt/tags/tag65.xml" ContentType="application/vnd.openxmlformats-officedocument.presentationml.tags+xml"/>
  <Override PartName="/ppt/notesSlides/notesSlide63.xml" ContentType="application/vnd.openxmlformats-officedocument.presentationml.notesSlide+xml"/>
  <Override PartName="/ppt/tags/tag66.xml" ContentType="application/vnd.openxmlformats-officedocument.presentationml.tags+xml"/>
  <Override PartName="/ppt/notesSlides/notesSlide64.xml" ContentType="application/vnd.openxmlformats-officedocument.presentationml.notesSlide+xml"/>
  <Override PartName="/ppt/tags/tag67.xml" ContentType="application/vnd.openxmlformats-officedocument.presentationml.tags+xml"/>
  <Override PartName="/ppt/notesSlides/notesSlide65.xml" ContentType="application/vnd.openxmlformats-officedocument.presentationml.notesSlide+xml"/>
  <Override PartName="/ppt/tags/tag68.xml" ContentType="application/vnd.openxmlformats-officedocument.presentationml.tags+xml"/>
  <Override PartName="/ppt/notesSlides/notesSlide66.xml" ContentType="application/vnd.openxmlformats-officedocument.presentationml.notesSlide+xml"/>
  <Override PartName="/ppt/tags/tag69.xml" ContentType="application/vnd.openxmlformats-officedocument.presentationml.tags+xml"/>
  <Override PartName="/ppt/notesSlides/notesSlide67.xml" ContentType="application/vnd.openxmlformats-officedocument.presentationml.notesSlide+xml"/>
  <Override PartName="/ppt/tags/tag70.xml" ContentType="application/vnd.openxmlformats-officedocument.presentationml.tags+xml"/>
  <Override PartName="/ppt/notesSlides/notesSlide68.xml" ContentType="application/vnd.openxmlformats-officedocument.presentationml.notesSlide+xml"/>
  <Override PartName="/ppt/tags/tag71.xml" ContentType="application/vnd.openxmlformats-officedocument.presentationml.tags+xml"/>
  <Override PartName="/ppt/notesSlides/notesSlide69.xml" ContentType="application/vnd.openxmlformats-officedocument.presentationml.notesSlide+xml"/>
  <Override PartName="/ppt/tags/tag72.xml" ContentType="application/vnd.openxmlformats-officedocument.presentationml.tags+xml"/>
  <Override PartName="/ppt/notesSlides/notesSlide70.xml" ContentType="application/vnd.openxmlformats-officedocument.presentationml.notesSlide+xml"/>
  <Override PartName="/ppt/tags/tag73.xml" ContentType="application/vnd.openxmlformats-officedocument.presentationml.tags+xml"/>
  <Override PartName="/ppt/notesSlides/notesSlide71.xml" ContentType="application/vnd.openxmlformats-officedocument.presentationml.notesSlide+xml"/>
  <Override PartName="/ppt/tags/tag74.xml" ContentType="application/vnd.openxmlformats-officedocument.presentationml.tags+xml"/>
  <Override PartName="/ppt/notesSlides/notesSlide72.xml" ContentType="application/vnd.openxmlformats-officedocument.presentationml.notesSlide+xml"/>
  <Override PartName="/ppt/tags/tag75.xml" ContentType="application/vnd.openxmlformats-officedocument.presentationml.tags+xml"/>
  <Override PartName="/ppt/notesSlides/notesSlide73.xml" ContentType="application/vnd.openxmlformats-officedocument.presentationml.notesSlide+xml"/>
  <Override PartName="/ppt/tags/tag76.xml" ContentType="application/vnd.openxmlformats-officedocument.presentationml.tags+xml"/>
  <Override PartName="/ppt/notesSlides/notesSlide74.xml" ContentType="application/vnd.openxmlformats-officedocument.presentationml.notesSlide+xml"/>
  <Override PartName="/ppt/tags/tag77.xml" ContentType="application/vnd.openxmlformats-officedocument.presentationml.tags+xml"/>
  <Override PartName="/ppt/notesSlides/notesSlide75.xml" ContentType="application/vnd.openxmlformats-officedocument.presentationml.notesSlide+xml"/>
  <Override PartName="/ppt/tags/tag78.xml" ContentType="application/vnd.openxmlformats-officedocument.presentationml.tags+xml"/>
  <Override PartName="/ppt/notesSlides/notesSlide76.xml" ContentType="application/vnd.openxmlformats-officedocument.presentationml.notesSlide+xml"/>
  <Override PartName="/ppt/tags/tag79.xml" ContentType="application/vnd.openxmlformats-officedocument.presentationml.tags+xml"/>
  <Override PartName="/ppt/notesSlides/notesSlide77.xml" ContentType="application/vnd.openxmlformats-officedocument.presentationml.notesSlide+xml"/>
  <Override PartName="/ppt/tags/tag80.xml" ContentType="application/vnd.openxmlformats-officedocument.presentationml.tags+xml"/>
  <Override PartName="/ppt/notesSlides/notesSlide78.xml" ContentType="application/vnd.openxmlformats-officedocument.presentationml.notesSlide+xml"/>
  <Override PartName="/ppt/tags/tag81.xml" ContentType="application/vnd.openxmlformats-officedocument.presentationml.tags+xml"/>
  <Override PartName="/ppt/notesSlides/notesSlide79.xml" ContentType="application/vnd.openxmlformats-officedocument.presentationml.notesSlide+xml"/>
  <Override PartName="/ppt/tags/tag82.xml" ContentType="application/vnd.openxmlformats-officedocument.presentationml.tags+xml"/>
  <Override PartName="/ppt/notesSlides/notesSlide80.xml" ContentType="application/vnd.openxmlformats-officedocument.presentationml.notesSlide+xml"/>
  <Override PartName="/ppt/tags/tag83.xml" ContentType="application/vnd.openxmlformats-officedocument.presentationml.tags+xml"/>
  <Override PartName="/ppt/notesSlides/notesSlide8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3" r:id="rId5"/>
    <p:sldMasterId id="2147483703" r:id="rId6"/>
    <p:sldMasterId id="2147483710" r:id="rId7"/>
    <p:sldMasterId id="2147483725" r:id="rId8"/>
  </p:sldMasterIdLst>
  <p:notesMasterIdLst>
    <p:notesMasterId r:id="rId90"/>
  </p:notesMasterIdLst>
  <p:sldIdLst>
    <p:sldId id="280" r:id="rId9"/>
    <p:sldId id="261" r:id="rId10"/>
    <p:sldId id="333" r:id="rId11"/>
    <p:sldId id="464" r:id="rId12"/>
    <p:sldId id="340" r:id="rId13"/>
    <p:sldId id="465" r:id="rId14"/>
    <p:sldId id="466" r:id="rId15"/>
    <p:sldId id="461" r:id="rId16"/>
    <p:sldId id="462" r:id="rId17"/>
    <p:sldId id="1194" r:id="rId18"/>
    <p:sldId id="472" r:id="rId19"/>
    <p:sldId id="476" r:id="rId20"/>
    <p:sldId id="463" r:id="rId21"/>
    <p:sldId id="479" r:id="rId22"/>
    <p:sldId id="481" r:id="rId23"/>
    <p:sldId id="480" r:id="rId24"/>
    <p:sldId id="1181" r:id="rId25"/>
    <p:sldId id="1137" r:id="rId26"/>
    <p:sldId id="1136" r:id="rId27"/>
    <p:sldId id="1178" r:id="rId28"/>
    <p:sldId id="1179" r:id="rId29"/>
    <p:sldId id="1180" r:id="rId30"/>
    <p:sldId id="360" r:id="rId31"/>
    <p:sldId id="1182" r:id="rId32"/>
    <p:sldId id="389" r:id="rId33"/>
    <p:sldId id="446" r:id="rId34"/>
    <p:sldId id="391" r:id="rId35"/>
    <p:sldId id="392" r:id="rId36"/>
    <p:sldId id="455" r:id="rId37"/>
    <p:sldId id="396" r:id="rId38"/>
    <p:sldId id="397" r:id="rId39"/>
    <p:sldId id="456" r:id="rId40"/>
    <p:sldId id="394" r:id="rId41"/>
    <p:sldId id="1192" r:id="rId42"/>
    <p:sldId id="1193" r:id="rId43"/>
    <p:sldId id="390" r:id="rId44"/>
    <p:sldId id="1187" r:id="rId45"/>
    <p:sldId id="1188" r:id="rId46"/>
    <p:sldId id="1189" r:id="rId47"/>
    <p:sldId id="1190" r:id="rId48"/>
    <p:sldId id="467" r:id="rId49"/>
    <p:sldId id="478" r:id="rId50"/>
    <p:sldId id="1184" r:id="rId51"/>
    <p:sldId id="1185" r:id="rId52"/>
    <p:sldId id="1186" r:id="rId53"/>
    <p:sldId id="1183" r:id="rId54"/>
    <p:sldId id="402" r:id="rId55"/>
    <p:sldId id="442" r:id="rId56"/>
    <p:sldId id="407" r:id="rId57"/>
    <p:sldId id="379" r:id="rId58"/>
    <p:sldId id="380" r:id="rId59"/>
    <p:sldId id="381" r:id="rId60"/>
    <p:sldId id="1191" r:id="rId61"/>
    <p:sldId id="438" r:id="rId62"/>
    <p:sldId id="445" r:id="rId63"/>
    <p:sldId id="475" r:id="rId64"/>
    <p:sldId id="377" r:id="rId65"/>
    <p:sldId id="443" r:id="rId66"/>
    <p:sldId id="449" r:id="rId67"/>
    <p:sldId id="450" r:id="rId68"/>
    <p:sldId id="385" r:id="rId69"/>
    <p:sldId id="453" r:id="rId70"/>
    <p:sldId id="451" r:id="rId71"/>
    <p:sldId id="454" r:id="rId72"/>
    <p:sldId id="452" r:id="rId73"/>
    <p:sldId id="434" r:id="rId74"/>
    <p:sldId id="406" r:id="rId75"/>
    <p:sldId id="436" r:id="rId76"/>
    <p:sldId id="437" r:id="rId77"/>
    <p:sldId id="468" r:id="rId78"/>
    <p:sldId id="474" r:id="rId79"/>
    <p:sldId id="398" r:id="rId80"/>
    <p:sldId id="400" r:id="rId81"/>
    <p:sldId id="404" r:id="rId82"/>
    <p:sldId id="393" r:id="rId83"/>
    <p:sldId id="470" r:id="rId84"/>
    <p:sldId id="383" r:id="rId85"/>
    <p:sldId id="408" r:id="rId86"/>
    <p:sldId id="306" r:id="rId87"/>
    <p:sldId id="401" r:id="rId88"/>
    <p:sldId id="386"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iye Zhou" initials="GZ" lastIdx="7" clrIdx="0">
    <p:extLst>
      <p:ext uri="{19B8F6BF-5375-455C-9EA6-DF929625EA0E}">
        <p15:presenceInfo xmlns:p15="http://schemas.microsoft.com/office/powerpoint/2012/main" userId="S00300009DC7B8CF@LIVE.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91CD"/>
    <a:srgbClr val="0000FF"/>
    <a:srgbClr val="0D163D"/>
    <a:srgbClr val="FF66FF"/>
    <a:srgbClr val="9933FF"/>
    <a:srgbClr val="FFCCCC"/>
    <a:srgbClr val="FFFF00"/>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F7940B-39B8-445E-984B-99E1A44C3CD7}" v="467" dt="2018-09-01T02:53:33.9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990" autoAdjust="0"/>
  </p:normalViewPr>
  <p:slideViewPr>
    <p:cSldViewPr snapToGrid="0">
      <p:cViewPr varScale="1">
        <p:scale>
          <a:sx n="78" d="100"/>
          <a:sy n="78" d="100"/>
        </p:scale>
        <p:origin x="98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slide" Target="slides/slide81.xml"/><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iye Zhou" userId="S::gazho@microsoft.com::57624dc8-72d9-4103-85d2-3bb69491f2d7" providerId="AD" clId="Web-{49355C18-BD01-4D27-87F8-F7DAF32E6A1A}"/>
  </pc:docChgLst>
  <pc:docChgLst>
    <pc:chgData name="Gaiye Zhou" userId="S::gazho@microsoft.com::57624dc8-72d9-4103-85d2-3bb69491f2d7" providerId="AD" clId="Web-{0D13031B-DC5F-4D6E-9B3A-77913C843F3D}"/>
  </pc:docChgLst>
  <pc:docChgLst>
    <pc:chgData name="Gaiye Zhou" userId="57624dc8-72d9-4103-85d2-3bb69491f2d7" providerId="ADAL" clId="{CAF7940B-39B8-445E-984B-99E1A44C3CD7}"/>
    <pc:docChg chg="undo redo custSel addSld delSld modSld sldOrd">
      <pc:chgData name="Gaiye Zhou" userId="57624dc8-72d9-4103-85d2-3bb69491f2d7" providerId="ADAL" clId="{CAF7940B-39B8-445E-984B-99E1A44C3CD7}" dt="2018-09-01T02:53:33.903" v="25872" actId="20577"/>
      <pc:docMkLst>
        <pc:docMk/>
      </pc:docMkLst>
      <pc:sldChg chg="modSp">
        <pc:chgData name="Gaiye Zhou" userId="57624dc8-72d9-4103-85d2-3bb69491f2d7" providerId="ADAL" clId="{CAF7940B-39B8-445E-984B-99E1A44C3CD7}" dt="2018-07-20T22:39:01.344" v="11960" actId="20577"/>
        <pc:sldMkLst>
          <pc:docMk/>
          <pc:sldMk cId="3540190099" sldId="280"/>
        </pc:sldMkLst>
        <pc:spChg chg="mod">
          <ac:chgData name="Gaiye Zhou" userId="57624dc8-72d9-4103-85d2-3bb69491f2d7" providerId="ADAL" clId="{CAF7940B-39B8-445E-984B-99E1A44C3CD7}" dt="2018-07-20T22:39:01.344" v="11960" actId="20577"/>
          <ac:spMkLst>
            <pc:docMk/>
            <pc:sldMk cId="3540190099" sldId="280"/>
            <ac:spMk id="4" creationId="{00000000-0000-0000-0000-000000000000}"/>
          </ac:spMkLst>
        </pc:spChg>
        <pc:spChg chg="mod">
          <ac:chgData name="Gaiye Zhou" userId="57624dc8-72d9-4103-85d2-3bb69491f2d7" providerId="ADAL" clId="{CAF7940B-39B8-445E-984B-99E1A44C3CD7}" dt="2018-07-11T15:10:36.421" v="44" actId="20577"/>
          <ac:spMkLst>
            <pc:docMk/>
            <pc:sldMk cId="3540190099" sldId="280"/>
            <ac:spMk id="294" creationId="{EDE5BC1E-0379-441A-8319-E0A16B956BB6}"/>
          </ac:spMkLst>
        </pc:spChg>
        <pc:spChg chg="mod">
          <ac:chgData name="Gaiye Zhou" userId="57624dc8-72d9-4103-85d2-3bb69491f2d7" providerId="ADAL" clId="{CAF7940B-39B8-445E-984B-99E1A44C3CD7}" dt="2018-07-11T15:10:41.116" v="51" actId="20577"/>
          <ac:spMkLst>
            <pc:docMk/>
            <pc:sldMk cId="3540190099" sldId="280"/>
            <ac:spMk id="307" creationId="{20708371-FF72-42C8-8352-A13F652E0C01}"/>
          </ac:spMkLst>
        </pc:spChg>
      </pc:sldChg>
      <pc:sldChg chg="modSp ord">
        <pc:chgData name="Gaiye Zhou" userId="57624dc8-72d9-4103-85d2-3bb69491f2d7" providerId="ADAL" clId="{CAF7940B-39B8-445E-984B-99E1A44C3CD7}" dt="2018-07-12T13:36:09.838" v="6129" actId="313"/>
        <pc:sldMkLst>
          <pc:docMk/>
          <pc:sldMk cId="1303769889" sldId="306"/>
        </pc:sldMkLst>
        <pc:spChg chg="mod">
          <ac:chgData name="Gaiye Zhou" userId="57624dc8-72d9-4103-85d2-3bb69491f2d7" providerId="ADAL" clId="{CAF7940B-39B8-445E-984B-99E1A44C3CD7}" dt="2018-07-12T13:36:08.173" v="6127" actId="313"/>
          <ac:spMkLst>
            <pc:docMk/>
            <pc:sldMk cId="1303769889" sldId="306"/>
            <ac:spMk id="4" creationId="{DF6CC1F4-E214-43D2-9848-021D22E05AB5}"/>
          </ac:spMkLst>
        </pc:spChg>
        <pc:spChg chg="mod">
          <ac:chgData name="Gaiye Zhou" userId="57624dc8-72d9-4103-85d2-3bb69491f2d7" providerId="ADAL" clId="{CAF7940B-39B8-445E-984B-99E1A44C3CD7}" dt="2018-07-11T18:04:31.168" v="696"/>
          <ac:spMkLst>
            <pc:docMk/>
            <pc:sldMk cId="1303769889" sldId="306"/>
            <ac:spMk id="6" creationId="{44E5690F-35AB-40A3-AF7A-1F83F8B85A15}"/>
          </ac:spMkLst>
        </pc:spChg>
        <pc:spChg chg="mod">
          <ac:chgData name="Gaiye Zhou" userId="57624dc8-72d9-4103-85d2-3bb69491f2d7" providerId="ADAL" clId="{CAF7940B-39B8-445E-984B-99E1A44C3CD7}" dt="2018-07-12T13:36:09.838" v="6129" actId="313"/>
          <ac:spMkLst>
            <pc:docMk/>
            <pc:sldMk cId="1303769889" sldId="306"/>
            <ac:spMk id="27" creationId="{4CF497D2-A9DE-404E-83A9-94B957330343}"/>
          </ac:spMkLst>
        </pc:spChg>
      </pc:sldChg>
      <pc:sldChg chg="modSp">
        <pc:chgData name="Gaiye Zhou" userId="57624dc8-72d9-4103-85d2-3bb69491f2d7" providerId="ADAL" clId="{CAF7940B-39B8-445E-984B-99E1A44C3CD7}" dt="2018-07-24T12:46:14.716" v="18105" actId="1076"/>
        <pc:sldMkLst>
          <pc:docMk/>
          <pc:sldMk cId="3019355295" sldId="340"/>
        </pc:sldMkLst>
        <pc:spChg chg="mod">
          <ac:chgData name="Gaiye Zhou" userId="57624dc8-72d9-4103-85d2-3bb69491f2d7" providerId="ADAL" clId="{CAF7940B-39B8-445E-984B-99E1A44C3CD7}" dt="2018-07-24T12:46:14.716" v="18105" actId="1076"/>
          <ac:spMkLst>
            <pc:docMk/>
            <pc:sldMk cId="3019355295" sldId="340"/>
            <ac:spMk id="25" creationId="{B7D8A3F1-216C-4798-B65D-1A336BDC030D}"/>
          </ac:spMkLst>
        </pc:spChg>
      </pc:sldChg>
      <pc:sldChg chg="modSp">
        <pc:chgData name="Gaiye Zhou" userId="57624dc8-72d9-4103-85d2-3bb69491f2d7" providerId="ADAL" clId="{CAF7940B-39B8-445E-984B-99E1A44C3CD7}" dt="2018-08-31T18:58:28.137" v="25704" actId="20577"/>
        <pc:sldMkLst>
          <pc:docMk/>
          <pc:sldMk cId="4193617695" sldId="377"/>
        </pc:sldMkLst>
        <pc:spChg chg="mod">
          <ac:chgData name="Gaiye Zhou" userId="57624dc8-72d9-4103-85d2-3bb69491f2d7" providerId="ADAL" clId="{CAF7940B-39B8-445E-984B-99E1A44C3CD7}" dt="2018-07-11T18:20:40.566" v="1266" actId="20577"/>
          <ac:spMkLst>
            <pc:docMk/>
            <pc:sldMk cId="4193617695" sldId="377"/>
            <ac:spMk id="6" creationId="{44E5690F-35AB-40A3-AF7A-1F83F8B85A15}"/>
          </ac:spMkLst>
        </pc:spChg>
        <pc:spChg chg="mod">
          <ac:chgData name="Gaiye Zhou" userId="57624dc8-72d9-4103-85d2-3bb69491f2d7" providerId="ADAL" clId="{CAF7940B-39B8-445E-984B-99E1A44C3CD7}" dt="2018-08-31T18:58:28.137" v="25704" actId="20577"/>
          <ac:spMkLst>
            <pc:docMk/>
            <pc:sldMk cId="4193617695" sldId="377"/>
            <ac:spMk id="37" creationId="{1EC0BE6D-FEF7-491F-AB0E-8B9E0DE93206}"/>
          </ac:spMkLst>
        </pc:spChg>
        <pc:graphicFrameChg chg="mod modGraphic">
          <ac:chgData name="Gaiye Zhou" userId="57624dc8-72d9-4103-85d2-3bb69491f2d7" providerId="ADAL" clId="{CAF7940B-39B8-445E-984B-99E1A44C3CD7}" dt="2018-07-20T23:14:17.483" v="12162" actId="20577"/>
          <ac:graphicFrameMkLst>
            <pc:docMk/>
            <pc:sldMk cId="4193617695" sldId="377"/>
            <ac:graphicFrameMk id="38" creationId="{DE1FD390-CD18-44F1-B954-149A725717F9}"/>
          </ac:graphicFrameMkLst>
        </pc:graphicFrameChg>
      </pc:sldChg>
      <pc:sldChg chg="modSp">
        <pc:chgData name="Gaiye Zhou" userId="57624dc8-72d9-4103-85d2-3bb69491f2d7" providerId="ADAL" clId="{CAF7940B-39B8-445E-984B-99E1A44C3CD7}" dt="2018-07-12T13:56:32.736" v="6440" actId="313"/>
        <pc:sldMkLst>
          <pc:docMk/>
          <pc:sldMk cId="2650713319" sldId="379"/>
        </pc:sldMkLst>
        <pc:spChg chg="mod">
          <ac:chgData name="Gaiye Zhou" userId="57624dc8-72d9-4103-85d2-3bb69491f2d7" providerId="ADAL" clId="{CAF7940B-39B8-445E-984B-99E1A44C3CD7}" dt="2018-07-12T13:56:32.736" v="6440" actId="313"/>
          <ac:spMkLst>
            <pc:docMk/>
            <pc:sldMk cId="2650713319" sldId="379"/>
            <ac:spMk id="2" creationId="{3AF7B064-2EBB-49F5-870C-5BE9E04FF7CE}"/>
          </ac:spMkLst>
        </pc:spChg>
      </pc:sldChg>
      <pc:sldChg chg="addSp modSp">
        <pc:chgData name="Gaiye Zhou" userId="57624dc8-72d9-4103-85d2-3bb69491f2d7" providerId="ADAL" clId="{CAF7940B-39B8-445E-984B-99E1A44C3CD7}" dt="2018-07-20T23:10:43.852" v="12144" actId="14100"/>
        <pc:sldMkLst>
          <pc:docMk/>
          <pc:sldMk cId="1229794203" sldId="380"/>
        </pc:sldMkLst>
        <pc:spChg chg="add mod">
          <ac:chgData name="Gaiye Zhou" userId="57624dc8-72d9-4103-85d2-3bb69491f2d7" providerId="ADAL" clId="{CAF7940B-39B8-445E-984B-99E1A44C3CD7}" dt="2018-07-20T23:10:43.852" v="12144" actId="14100"/>
          <ac:spMkLst>
            <pc:docMk/>
            <pc:sldMk cId="1229794203" sldId="380"/>
            <ac:spMk id="25" creationId="{5280CF7A-DDFE-4AC6-9DDE-F70992B10BE0}"/>
          </ac:spMkLst>
        </pc:spChg>
      </pc:sldChg>
      <pc:sldChg chg="modSp ord">
        <pc:chgData name="Gaiye Zhou" userId="57624dc8-72d9-4103-85d2-3bb69491f2d7" providerId="ADAL" clId="{CAF7940B-39B8-445E-984B-99E1A44C3CD7}" dt="2018-07-31T18:43:08.771" v="23917" actId="14100"/>
        <pc:sldMkLst>
          <pc:docMk/>
          <pc:sldMk cId="4269936708" sldId="383"/>
        </pc:sldMkLst>
        <pc:spChg chg="mod">
          <ac:chgData name="Gaiye Zhou" userId="57624dc8-72d9-4103-85d2-3bb69491f2d7" providerId="ADAL" clId="{CAF7940B-39B8-445E-984B-99E1A44C3CD7}" dt="2018-07-12T13:36:00.739" v="6120" actId="313"/>
          <ac:spMkLst>
            <pc:docMk/>
            <pc:sldMk cId="4269936708" sldId="383"/>
            <ac:spMk id="4" creationId="{DF6CC1F4-E214-43D2-9848-021D22E05AB5}"/>
          </ac:spMkLst>
        </pc:spChg>
        <pc:spChg chg="mod">
          <ac:chgData name="Gaiye Zhou" userId="57624dc8-72d9-4103-85d2-3bb69491f2d7" providerId="ADAL" clId="{CAF7940B-39B8-445E-984B-99E1A44C3CD7}" dt="2018-07-11T18:04:02.009" v="693" actId="20577"/>
          <ac:spMkLst>
            <pc:docMk/>
            <pc:sldMk cId="4269936708" sldId="383"/>
            <ac:spMk id="6" creationId="{44E5690F-35AB-40A3-AF7A-1F83F8B85A15}"/>
          </ac:spMkLst>
        </pc:spChg>
        <pc:spChg chg="mod">
          <ac:chgData name="Gaiye Zhou" userId="57624dc8-72d9-4103-85d2-3bb69491f2d7" providerId="ADAL" clId="{CAF7940B-39B8-445E-984B-99E1A44C3CD7}" dt="2018-07-12T13:36:01.818" v="6121" actId="313"/>
          <ac:spMkLst>
            <pc:docMk/>
            <pc:sldMk cId="4269936708" sldId="383"/>
            <ac:spMk id="26" creationId="{CA1211CA-CC88-4AFF-BCD0-981367D2CA89}"/>
          </ac:spMkLst>
        </pc:spChg>
        <pc:spChg chg="mod">
          <ac:chgData name="Gaiye Zhou" userId="57624dc8-72d9-4103-85d2-3bb69491f2d7" providerId="ADAL" clId="{CAF7940B-39B8-445E-984B-99E1A44C3CD7}" dt="2018-07-31T18:43:08.771" v="23917" actId="14100"/>
          <ac:spMkLst>
            <pc:docMk/>
            <pc:sldMk cId="4269936708" sldId="383"/>
            <ac:spMk id="27" creationId="{136C48F8-ADAE-494C-A993-C8B85D7B60CE}"/>
          </ac:spMkLst>
        </pc:spChg>
      </pc:sldChg>
      <pc:sldChg chg="addSp delSp modSp">
        <pc:chgData name="Gaiye Zhou" userId="57624dc8-72d9-4103-85d2-3bb69491f2d7" providerId="ADAL" clId="{CAF7940B-39B8-445E-984B-99E1A44C3CD7}" dt="2018-07-23T22:36:47.231" v="15778" actId="207"/>
        <pc:sldMkLst>
          <pc:docMk/>
          <pc:sldMk cId="3992403917" sldId="385"/>
        </pc:sldMkLst>
        <pc:spChg chg="mod">
          <ac:chgData name="Gaiye Zhou" userId="57624dc8-72d9-4103-85d2-3bb69491f2d7" providerId="ADAL" clId="{CAF7940B-39B8-445E-984B-99E1A44C3CD7}" dt="2018-07-12T02:08:05.792" v="3371" actId="20577"/>
          <ac:spMkLst>
            <pc:docMk/>
            <pc:sldMk cId="3992403917" sldId="385"/>
            <ac:spMk id="6" creationId="{44E5690F-35AB-40A3-AF7A-1F83F8B85A15}"/>
          </ac:spMkLst>
        </pc:spChg>
        <pc:spChg chg="del">
          <ac:chgData name="Gaiye Zhou" userId="57624dc8-72d9-4103-85d2-3bb69491f2d7" providerId="ADAL" clId="{CAF7940B-39B8-445E-984B-99E1A44C3CD7}" dt="2018-07-12T01:51:09.224" v="2272" actId="478"/>
          <ac:spMkLst>
            <pc:docMk/>
            <pc:sldMk cId="3992403917" sldId="385"/>
            <ac:spMk id="36" creationId="{8A1FCD9E-F4C4-4055-ADF1-791F983012F5}"/>
          </ac:spMkLst>
        </pc:spChg>
        <pc:spChg chg="del">
          <ac:chgData name="Gaiye Zhou" userId="57624dc8-72d9-4103-85d2-3bb69491f2d7" providerId="ADAL" clId="{CAF7940B-39B8-445E-984B-99E1A44C3CD7}" dt="2018-07-12T01:51:11.496" v="2274" actId="478"/>
          <ac:spMkLst>
            <pc:docMk/>
            <pc:sldMk cId="3992403917" sldId="385"/>
            <ac:spMk id="37" creationId="{37BFC0F9-1149-403A-B28B-8D021E6C2D5E}"/>
          </ac:spMkLst>
        </pc:spChg>
        <pc:spChg chg="add del mod">
          <ac:chgData name="Gaiye Zhou" userId="57624dc8-72d9-4103-85d2-3bb69491f2d7" providerId="ADAL" clId="{CAF7940B-39B8-445E-984B-99E1A44C3CD7}" dt="2018-07-12T19:13:29.413" v="7933" actId="478"/>
          <ac:spMkLst>
            <pc:docMk/>
            <pc:sldMk cId="3992403917" sldId="385"/>
            <ac:spMk id="37" creationId="{F6962F65-C08D-417B-A316-002A5BC2660A}"/>
          </ac:spMkLst>
        </pc:spChg>
        <pc:spChg chg="del">
          <ac:chgData name="Gaiye Zhou" userId="57624dc8-72d9-4103-85d2-3bb69491f2d7" providerId="ADAL" clId="{CAF7940B-39B8-445E-984B-99E1A44C3CD7}" dt="2018-07-12T01:52:53.706" v="2304" actId="478"/>
          <ac:spMkLst>
            <pc:docMk/>
            <pc:sldMk cId="3992403917" sldId="385"/>
            <ac:spMk id="38" creationId="{71156309-031F-4721-BC55-323A2BCFD7F5}"/>
          </ac:spMkLst>
        </pc:spChg>
        <pc:spChg chg="del">
          <ac:chgData name="Gaiye Zhou" userId="57624dc8-72d9-4103-85d2-3bb69491f2d7" providerId="ADAL" clId="{CAF7940B-39B8-445E-984B-99E1A44C3CD7}" dt="2018-07-12T01:51:03.856" v="2270" actId="478"/>
          <ac:spMkLst>
            <pc:docMk/>
            <pc:sldMk cId="3992403917" sldId="385"/>
            <ac:spMk id="40" creationId="{88D11C86-6D6F-4C93-9F6F-67835769E560}"/>
          </ac:spMkLst>
        </pc:spChg>
        <pc:spChg chg="add mod">
          <ac:chgData name="Gaiye Zhou" userId="57624dc8-72d9-4103-85d2-3bb69491f2d7" providerId="ADAL" clId="{CAF7940B-39B8-445E-984B-99E1A44C3CD7}" dt="2018-07-12T01:59:59.206" v="2802" actId="1076"/>
          <ac:spMkLst>
            <pc:docMk/>
            <pc:sldMk cId="3992403917" sldId="385"/>
            <ac:spMk id="42" creationId="{A9966834-0909-4B67-AA5A-6BF40F8C5134}"/>
          </ac:spMkLst>
        </pc:spChg>
        <pc:spChg chg="mod">
          <ac:chgData name="Gaiye Zhou" userId="57624dc8-72d9-4103-85d2-3bb69491f2d7" providerId="ADAL" clId="{CAF7940B-39B8-445E-984B-99E1A44C3CD7}" dt="2018-07-12T02:18:45.198" v="3464" actId="1076"/>
          <ac:spMkLst>
            <pc:docMk/>
            <pc:sldMk cId="3992403917" sldId="385"/>
            <ac:spMk id="43" creationId="{90C7423A-548D-46E6-97EC-7184044803B3}"/>
          </ac:spMkLst>
        </pc:spChg>
        <pc:spChg chg="add mod">
          <ac:chgData name="Gaiye Zhou" userId="57624dc8-72d9-4103-85d2-3bb69491f2d7" providerId="ADAL" clId="{CAF7940B-39B8-445E-984B-99E1A44C3CD7}" dt="2018-07-12T02:07:29.686" v="3354" actId="688"/>
          <ac:spMkLst>
            <pc:docMk/>
            <pc:sldMk cId="3992403917" sldId="385"/>
            <ac:spMk id="44" creationId="{0BEB5591-23BF-4002-B117-490FA8FFD341}"/>
          </ac:spMkLst>
        </pc:spChg>
        <pc:spChg chg="mod ord">
          <ac:chgData name="Gaiye Zhou" userId="57624dc8-72d9-4103-85d2-3bb69491f2d7" providerId="ADAL" clId="{CAF7940B-39B8-445E-984B-99E1A44C3CD7}" dt="2018-07-23T22:36:47.231" v="15778" actId="207"/>
          <ac:spMkLst>
            <pc:docMk/>
            <pc:sldMk cId="3992403917" sldId="385"/>
            <ac:spMk id="45" creationId="{4D35E809-A2B3-4087-AE25-B4A174E11EFA}"/>
          </ac:spMkLst>
        </pc:spChg>
        <pc:spChg chg="del">
          <ac:chgData name="Gaiye Zhou" userId="57624dc8-72d9-4103-85d2-3bb69491f2d7" providerId="ADAL" clId="{CAF7940B-39B8-445E-984B-99E1A44C3CD7}" dt="2018-07-12T01:52:51.362" v="2303" actId="478"/>
          <ac:spMkLst>
            <pc:docMk/>
            <pc:sldMk cId="3992403917" sldId="385"/>
            <ac:spMk id="46" creationId="{A2D3CD78-059A-46EF-AB7D-92F2B6532417}"/>
          </ac:spMkLst>
        </pc:spChg>
        <pc:spChg chg="add mod">
          <ac:chgData name="Gaiye Zhou" userId="57624dc8-72d9-4103-85d2-3bb69491f2d7" providerId="ADAL" clId="{CAF7940B-39B8-445E-984B-99E1A44C3CD7}" dt="2018-07-12T02:07:19.564" v="3352" actId="14100"/>
          <ac:spMkLst>
            <pc:docMk/>
            <pc:sldMk cId="3992403917" sldId="385"/>
            <ac:spMk id="47" creationId="{ECEB5888-BF06-45F1-A641-F3FAD25931CA}"/>
          </ac:spMkLst>
        </pc:spChg>
        <pc:spChg chg="add mod">
          <ac:chgData name="Gaiye Zhou" userId="57624dc8-72d9-4103-85d2-3bb69491f2d7" providerId="ADAL" clId="{CAF7940B-39B8-445E-984B-99E1A44C3CD7}" dt="2018-07-20T22:30:36.525" v="11891" actId="1076"/>
          <ac:spMkLst>
            <pc:docMk/>
            <pc:sldMk cId="3992403917" sldId="385"/>
            <ac:spMk id="48" creationId="{F8931341-474A-4AC5-B291-B72C7C4C1AE3}"/>
          </ac:spMkLst>
        </pc:spChg>
        <pc:spChg chg="add mod">
          <ac:chgData name="Gaiye Zhou" userId="57624dc8-72d9-4103-85d2-3bb69491f2d7" providerId="ADAL" clId="{CAF7940B-39B8-445E-984B-99E1A44C3CD7}" dt="2018-07-20T22:30:50.899" v="11895" actId="20577"/>
          <ac:spMkLst>
            <pc:docMk/>
            <pc:sldMk cId="3992403917" sldId="385"/>
            <ac:spMk id="49" creationId="{6970E612-3F9A-4EEE-A38A-CA185EEFCC19}"/>
          </ac:spMkLst>
        </pc:spChg>
        <pc:spChg chg="add mod">
          <ac:chgData name="Gaiye Zhou" userId="57624dc8-72d9-4103-85d2-3bb69491f2d7" providerId="ADAL" clId="{CAF7940B-39B8-445E-984B-99E1A44C3CD7}" dt="2018-07-20T22:30:58.522" v="11896" actId="20577"/>
          <ac:spMkLst>
            <pc:docMk/>
            <pc:sldMk cId="3992403917" sldId="385"/>
            <ac:spMk id="50" creationId="{1B799E34-DBA1-44C9-89AA-E69A77924CD9}"/>
          </ac:spMkLst>
        </pc:spChg>
        <pc:spChg chg="mod">
          <ac:chgData name="Gaiye Zhou" userId="57624dc8-72d9-4103-85d2-3bb69491f2d7" providerId="ADAL" clId="{CAF7940B-39B8-445E-984B-99E1A44C3CD7}" dt="2018-07-12T02:00:10.471" v="2806" actId="14100"/>
          <ac:spMkLst>
            <pc:docMk/>
            <pc:sldMk cId="3992403917" sldId="385"/>
            <ac:spMk id="52" creationId="{F051F300-EC17-4889-A0ED-300D475178C0}"/>
          </ac:spMkLst>
        </pc:spChg>
        <pc:spChg chg="del">
          <ac:chgData name="Gaiye Zhou" userId="57624dc8-72d9-4103-85d2-3bb69491f2d7" providerId="ADAL" clId="{CAF7940B-39B8-445E-984B-99E1A44C3CD7}" dt="2018-07-12T01:51:41.962" v="2280" actId="478"/>
          <ac:spMkLst>
            <pc:docMk/>
            <pc:sldMk cId="3992403917" sldId="385"/>
            <ac:spMk id="60" creationId="{57826D3B-8EF2-41FA-A812-61B7C09A1F05}"/>
          </ac:spMkLst>
        </pc:spChg>
        <pc:spChg chg="mod">
          <ac:chgData name="Gaiye Zhou" userId="57624dc8-72d9-4103-85d2-3bb69491f2d7" providerId="ADAL" clId="{CAF7940B-39B8-445E-984B-99E1A44C3CD7}" dt="2018-07-12T02:18:49.928" v="3466" actId="1076"/>
          <ac:spMkLst>
            <pc:docMk/>
            <pc:sldMk cId="3992403917" sldId="385"/>
            <ac:spMk id="63" creationId="{0DA5FA7C-907D-45BD-A2AD-B59B204E74FD}"/>
          </ac:spMkLst>
        </pc:spChg>
        <pc:spChg chg="del">
          <ac:chgData name="Gaiye Zhou" userId="57624dc8-72d9-4103-85d2-3bb69491f2d7" providerId="ADAL" clId="{CAF7940B-39B8-445E-984B-99E1A44C3CD7}" dt="2018-07-12T01:51:46.281" v="2282" actId="478"/>
          <ac:spMkLst>
            <pc:docMk/>
            <pc:sldMk cId="3992403917" sldId="385"/>
            <ac:spMk id="64" creationId="{57D10612-CA13-4D88-ABB8-AE70FD6BB338}"/>
          </ac:spMkLst>
        </pc:spChg>
        <pc:graphicFrameChg chg="add del mod">
          <ac:chgData name="Gaiye Zhou" userId="57624dc8-72d9-4103-85d2-3bb69491f2d7" providerId="ADAL" clId="{CAF7940B-39B8-445E-984B-99E1A44C3CD7}" dt="2018-07-12T02:15:39.835" v="3374" actId="478"/>
          <ac:graphicFrameMkLst>
            <pc:docMk/>
            <pc:sldMk cId="3992403917" sldId="385"/>
            <ac:graphicFrameMk id="2" creationId="{B1E5865A-713B-423A-A1AA-1E13D08D3314}"/>
          </ac:graphicFrameMkLst>
        </pc:graphicFrameChg>
        <pc:picChg chg="mod">
          <ac:chgData name="Gaiye Zhou" userId="57624dc8-72d9-4103-85d2-3bb69491f2d7" providerId="ADAL" clId="{CAF7940B-39B8-445E-984B-99E1A44C3CD7}" dt="2018-07-12T02:18:43.421" v="3463" actId="1076"/>
          <ac:picMkLst>
            <pc:docMk/>
            <pc:sldMk cId="3992403917" sldId="385"/>
            <ac:picMk id="3" creationId="{AC6CFB22-B3C8-4431-918E-62B96768BCE4}"/>
          </ac:picMkLst>
        </pc:picChg>
        <pc:picChg chg="add mod">
          <ac:chgData name="Gaiye Zhou" userId="57624dc8-72d9-4103-85d2-3bb69491f2d7" providerId="ADAL" clId="{CAF7940B-39B8-445E-984B-99E1A44C3CD7}" dt="2018-07-20T22:28:45.123" v="11878" actId="1035"/>
          <ac:picMkLst>
            <pc:docMk/>
            <pc:sldMk cId="3992403917" sldId="385"/>
            <ac:picMk id="4" creationId="{F5B2A836-2253-4C3B-9DC7-C0707B464150}"/>
          </ac:picMkLst>
        </pc:picChg>
        <pc:picChg chg="mod">
          <ac:chgData name="Gaiye Zhou" userId="57624dc8-72d9-4103-85d2-3bb69491f2d7" providerId="ADAL" clId="{CAF7940B-39B8-445E-984B-99E1A44C3CD7}" dt="2018-07-12T02:07:24.632" v="3353" actId="1076"/>
          <ac:picMkLst>
            <pc:docMk/>
            <pc:sldMk cId="3992403917" sldId="385"/>
            <ac:picMk id="34" creationId="{B98E4F8E-1575-46D5-88A8-A202CA3D224B}"/>
          </ac:picMkLst>
        </pc:picChg>
        <pc:picChg chg="del">
          <ac:chgData name="Gaiye Zhou" userId="57624dc8-72d9-4103-85d2-3bb69491f2d7" providerId="ADAL" clId="{CAF7940B-39B8-445E-984B-99E1A44C3CD7}" dt="2018-07-12T01:51:10.041" v="2273" actId="478"/>
          <ac:picMkLst>
            <pc:docMk/>
            <pc:sldMk cId="3992403917" sldId="385"/>
            <ac:picMk id="35" creationId="{106B210C-0CC9-4948-A878-28883532B5A8}"/>
          </ac:picMkLst>
        </pc:picChg>
        <pc:picChg chg="add del">
          <ac:chgData name="Gaiye Zhou" userId="57624dc8-72d9-4103-85d2-3bb69491f2d7" providerId="ADAL" clId="{CAF7940B-39B8-445E-984B-99E1A44C3CD7}" dt="2018-07-12T14:02:39.446" v="6477" actId="478"/>
          <ac:picMkLst>
            <pc:docMk/>
            <pc:sldMk cId="3992403917" sldId="385"/>
            <ac:picMk id="36" creationId="{E6D334E1-5254-431A-83AF-5A1F4A8F171A}"/>
          </ac:picMkLst>
        </pc:picChg>
        <pc:picChg chg="add del mod">
          <ac:chgData name="Gaiye Zhou" userId="57624dc8-72d9-4103-85d2-3bb69491f2d7" providerId="ADAL" clId="{CAF7940B-39B8-445E-984B-99E1A44C3CD7}" dt="2018-07-12T19:13:27.766" v="7932" actId="478"/>
          <ac:picMkLst>
            <pc:docMk/>
            <pc:sldMk cId="3992403917" sldId="385"/>
            <ac:picMk id="38" creationId="{CCCBF43B-5EA1-40EB-A457-6CB9D3231FDD}"/>
          </ac:picMkLst>
        </pc:picChg>
        <pc:picChg chg="del">
          <ac:chgData name="Gaiye Zhou" userId="57624dc8-72d9-4103-85d2-3bb69491f2d7" providerId="ADAL" clId="{CAF7940B-39B8-445E-984B-99E1A44C3CD7}" dt="2018-07-12T01:51:06.840" v="2271" actId="478"/>
          <ac:picMkLst>
            <pc:docMk/>
            <pc:sldMk cId="3992403917" sldId="385"/>
            <ac:picMk id="39" creationId="{C48BC0F7-C23B-4969-84C7-FE44570E06AB}"/>
          </ac:picMkLst>
        </pc:picChg>
        <pc:picChg chg="add mod">
          <ac:chgData name="Gaiye Zhou" userId="57624dc8-72d9-4103-85d2-3bb69491f2d7" providerId="ADAL" clId="{CAF7940B-39B8-445E-984B-99E1A44C3CD7}" dt="2018-07-12T02:18:58.304" v="3468" actId="1076"/>
          <ac:picMkLst>
            <pc:docMk/>
            <pc:sldMk cId="3992403917" sldId="385"/>
            <ac:picMk id="41" creationId="{82AD5605-C6B0-44B2-9FB3-E96E7C8A9AE8}"/>
          </ac:picMkLst>
        </pc:picChg>
        <pc:picChg chg="mod">
          <ac:chgData name="Gaiye Zhou" userId="57624dc8-72d9-4103-85d2-3bb69491f2d7" providerId="ADAL" clId="{CAF7940B-39B8-445E-984B-99E1A44C3CD7}" dt="2018-07-12T02:18:46.655" v="3465" actId="1076"/>
          <ac:picMkLst>
            <pc:docMk/>
            <pc:sldMk cId="3992403917" sldId="385"/>
            <ac:picMk id="56" creationId="{1E5B1199-FD1E-4299-9F90-EB1E45412F9F}"/>
          </ac:picMkLst>
        </pc:picChg>
        <pc:picChg chg="del">
          <ac:chgData name="Gaiye Zhou" userId="57624dc8-72d9-4103-85d2-3bb69491f2d7" providerId="ADAL" clId="{CAF7940B-39B8-445E-984B-99E1A44C3CD7}" dt="2018-07-12T01:51:40.306" v="2279" actId="478"/>
          <ac:picMkLst>
            <pc:docMk/>
            <pc:sldMk cId="3992403917" sldId="385"/>
            <ac:picMk id="61" creationId="{695565A3-6AAA-4869-8D92-9E16150BF094}"/>
          </ac:picMkLst>
        </pc:picChg>
        <pc:picChg chg="del">
          <ac:chgData name="Gaiye Zhou" userId="57624dc8-72d9-4103-85d2-3bb69491f2d7" providerId="ADAL" clId="{CAF7940B-39B8-445E-984B-99E1A44C3CD7}" dt="2018-07-12T01:51:44.643" v="2281" actId="478"/>
          <ac:picMkLst>
            <pc:docMk/>
            <pc:sldMk cId="3992403917" sldId="385"/>
            <ac:picMk id="62" creationId="{FC093575-6528-4D29-BCCE-9D20E06EFBD6}"/>
          </ac:picMkLst>
        </pc:picChg>
      </pc:sldChg>
      <pc:sldChg chg="modSp">
        <pc:chgData name="Gaiye Zhou" userId="57624dc8-72d9-4103-85d2-3bb69491f2d7" providerId="ADAL" clId="{CAF7940B-39B8-445E-984B-99E1A44C3CD7}" dt="2018-07-12T16:18:32.565" v="7837" actId="400"/>
        <pc:sldMkLst>
          <pc:docMk/>
          <pc:sldMk cId="3841614441" sldId="386"/>
        </pc:sldMkLst>
        <pc:spChg chg="mod">
          <ac:chgData name="Gaiye Zhou" userId="57624dc8-72d9-4103-85d2-3bb69491f2d7" providerId="ADAL" clId="{CAF7940B-39B8-445E-984B-99E1A44C3CD7}" dt="2018-07-12T16:18:32.565" v="7837" actId="400"/>
          <ac:spMkLst>
            <pc:docMk/>
            <pc:sldMk cId="3841614441" sldId="386"/>
            <ac:spMk id="4" creationId="{DF6CC1F4-E214-43D2-9848-021D22E05AB5}"/>
          </ac:spMkLst>
        </pc:spChg>
      </pc:sldChg>
      <pc:sldChg chg="modSp">
        <pc:chgData name="Gaiye Zhou" userId="57624dc8-72d9-4103-85d2-3bb69491f2d7" providerId="ADAL" clId="{CAF7940B-39B8-445E-984B-99E1A44C3CD7}" dt="2018-07-23T22:32:10.778" v="15758" actId="5793"/>
        <pc:sldMkLst>
          <pc:docMk/>
          <pc:sldMk cId="863039024" sldId="389"/>
        </pc:sldMkLst>
        <pc:spChg chg="mod">
          <ac:chgData name="Gaiye Zhou" userId="57624dc8-72d9-4103-85d2-3bb69491f2d7" providerId="ADAL" clId="{CAF7940B-39B8-445E-984B-99E1A44C3CD7}" dt="2018-07-23T22:32:10.778" v="15758" actId="5793"/>
          <ac:spMkLst>
            <pc:docMk/>
            <pc:sldMk cId="863039024" sldId="389"/>
            <ac:spMk id="4" creationId="{89FA0889-76AD-48A0-BBC9-605FD57AE5A9}"/>
          </ac:spMkLst>
        </pc:spChg>
        <pc:spChg chg="mod">
          <ac:chgData name="Gaiye Zhou" userId="57624dc8-72d9-4103-85d2-3bb69491f2d7" providerId="ADAL" clId="{CAF7940B-39B8-445E-984B-99E1A44C3CD7}" dt="2018-07-20T22:37:21.126" v="11941" actId="20577"/>
          <ac:spMkLst>
            <pc:docMk/>
            <pc:sldMk cId="863039024" sldId="389"/>
            <ac:spMk id="35" creationId="{00000000-0000-0000-0000-000000000000}"/>
          </ac:spMkLst>
        </pc:spChg>
      </pc:sldChg>
      <pc:sldChg chg="modSp">
        <pc:chgData name="Gaiye Zhou" userId="57624dc8-72d9-4103-85d2-3bb69491f2d7" providerId="ADAL" clId="{CAF7940B-39B8-445E-984B-99E1A44C3CD7}" dt="2018-07-23T22:35:39.070" v="15776" actId="2711"/>
        <pc:sldMkLst>
          <pc:docMk/>
          <pc:sldMk cId="690030173" sldId="390"/>
        </pc:sldMkLst>
        <pc:spChg chg="mod">
          <ac:chgData name="Gaiye Zhou" userId="57624dc8-72d9-4103-85d2-3bb69491f2d7" providerId="ADAL" clId="{CAF7940B-39B8-445E-984B-99E1A44C3CD7}" dt="2018-07-23T22:35:39.070" v="15776" actId="2711"/>
          <ac:spMkLst>
            <pc:docMk/>
            <pc:sldMk cId="690030173" sldId="390"/>
            <ac:spMk id="6" creationId="{AA8C26A3-138D-4176-840D-3AF338A96421}"/>
          </ac:spMkLst>
        </pc:spChg>
      </pc:sldChg>
      <pc:sldChg chg="modSp">
        <pc:chgData name="Gaiye Zhou" userId="57624dc8-72d9-4103-85d2-3bb69491f2d7" providerId="ADAL" clId="{CAF7940B-39B8-445E-984B-99E1A44C3CD7}" dt="2018-07-23T22:33:14.781" v="15760" actId="2711"/>
        <pc:sldMkLst>
          <pc:docMk/>
          <pc:sldMk cId="1891875629" sldId="391"/>
        </pc:sldMkLst>
        <pc:spChg chg="mod">
          <ac:chgData name="Gaiye Zhou" userId="57624dc8-72d9-4103-85d2-3bb69491f2d7" providerId="ADAL" clId="{CAF7940B-39B8-445E-984B-99E1A44C3CD7}" dt="2018-07-23T22:33:14.781" v="15760" actId="2711"/>
          <ac:spMkLst>
            <pc:docMk/>
            <pc:sldMk cId="1891875629" sldId="391"/>
            <ac:spMk id="4" creationId="{89FA0889-76AD-48A0-BBC9-605FD57AE5A9}"/>
          </ac:spMkLst>
        </pc:spChg>
      </pc:sldChg>
      <pc:sldChg chg="modSp">
        <pc:chgData name="Gaiye Zhou" userId="57624dc8-72d9-4103-85d2-3bb69491f2d7" providerId="ADAL" clId="{CAF7940B-39B8-445E-984B-99E1A44C3CD7}" dt="2018-07-31T18:17:04.873" v="23643" actId="20577"/>
        <pc:sldMkLst>
          <pc:docMk/>
          <pc:sldMk cId="2180637828" sldId="392"/>
        </pc:sldMkLst>
        <pc:spChg chg="mod">
          <ac:chgData name="Gaiye Zhou" userId="57624dc8-72d9-4103-85d2-3bb69491f2d7" providerId="ADAL" clId="{CAF7940B-39B8-445E-984B-99E1A44C3CD7}" dt="2018-07-31T18:17:04.873" v="23643" actId="20577"/>
          <ac:spMkLst>
            <pc:docMk/>
            <pc:sldMk cId="2180637828" sldId="392"/>
            <ac:spMk id="9" creationId="{ACB3664D-A31D-458E-B563-F2CEA8D73476}"/>
          </ac:spMkLst>
        </pc:spChg>
      </pc:sldChg>
      <pc:sldChg chg="addSp delSp modSp">
        <pc:chgData name="Gaiye Zhou" userId="57624dc8-72d9-4103-85d2-3bb69491f2d7" providerId="ADAL" clId="{CAF7940B-39B8-445E-984B-99E1A44C3CD7}" dt="2018-07-24T16:24:23.993" v="19879" actId="20577"/>
        <pc:sldMkLst>
          <pc:docMk/>
          <pc:sldMk cId="320203271" sldId="393"/>
        </pc:sldMkLst>
        <pc:spChg chg="add mod">
          <ac:chgData name="Gaiye Zhou" userId="57624dc8-72d9-4103-85d2-3bb69491f2d7" providerId="ADAL" clId="{CAF7940B-39B8-445E-984B-99E1A44C3CD7}" dt="2018-07-12T14:12:27.406" v="6530" actId="14100"/>
          <ac:spMkLst>
            <pc:docMk/>
            <pc:sldMk cId="320203271" sldId="393"/>
            <ac:spMk id="41" creationId="{A08BB54E-23DD-4A63-B5B4-1658999E7E28}"/>
          </ac:spMkLst>
        </pc:spChg>
        <pc:spChg chg="add mod">
          <ac:chgData name="Gaiye Zhou" userId="57624dc8-72d9-4103-85d2-3bb69491f2d7" providerId="ADAL" clId="{CAF7940B-39B8-445E-984B-99E1A44C3CD7}" dt="2018-07-24T16:24:23.993" v="19879" actId="20577"/>
          <ac:spMkLst>
            <pc:docMk/>
            <pc:sldMk cId="320203271" sldId="393"/>
            <ac:spMk id="42" creationId="{DCEBD024-C0FC-4923-9CC7-1471DFEE1463}"/>
          </ac:spMkLst>
        </pc:spChg>
        <pc:spChg chg="add mod ord">
          <ac:chgData name="Gaiye Zhou" userId="57624dc8-72d9-4103-85d2-3bb69491f2d7" providerId="ADAL" clId="{CAF7940B-39B8-445E-984B-99E1A44C3CD7}" dt="2018-07-23T22:27:31.298" v="15741" actId="1076"/>
          <ac:spMkLst>
            <pc:docMk/>
            <pc:sldMk cId="320203271" sldId="393"/>
            <ac:spMk id="43" creationId="{5D4BC1E5-9B4E-4BBA-94DC-C004386AD27D}"/>
          </ac:spMkLst>
        </pc:spChg>
        <pc:spChg chg="mod">
          <ac:chgData name="Gaiye Zhou" userId="57624dc8-72d9-4103-85d2-3bb69491f2d7" providerId="ADAL" clId="{CAF7940B-39B8-445E-984B-99E1A44C3CD7}" dt="2018-07-23T22:06:13.420" v="15081" actId="1035"/>
          <ac:spMkLst>
            <pc:docMk/>
            <pc:sldMk cId="320203271" sldId="393"/>
            <ac:spMk id="74" creationId="{6A60764F-2F1D-4BE4-9F77-123399E62200}"/>
          </ac:spMkLst>
        </pc:spChg>
        <pc:spChg chg="mod">
          <ac:chgData name="Gaiye Zhou" userId="57624dc8-72d9-4103-85d2-3bb69491f2d7" providerId="ADAL" clId="{CAF7940B-39B8-445E-984B-99E1A44C3CD7}" dt="2018-07-23T22:06:56.638" v="15086" actId="14100"/>
          <ac:spMkLst>
            <pc:docMk/>
            <pc:sldMk cId="320203271" sldId="393"/>
            <ac:spMk id="77" creationId="{AD7CEADB-EDF5-47E4-A8F6-8CBECA3A9D4E}"/>
          </ac:spMkLst>
        </pc:spChg>
        <pc:spChg chg="mod">
          <ac:chgData name="Gaiye Zhou" userId="57624dc8-72d9-4103-85d2-3bb69491f2d7" providerId="ADAL" clId="{CAF7940B-39B8-445E-984B-99E1A44C3CD7}" dt="2018-07-23T22:06:13.420" v="15081" actId="1035"/>
          <ac:spMkLst>
            <pc:docMk/>
            <pc:sldMk cId="320203271" sldId="393"/>
            <ac:spMk id="78" creationId="{2A230353-B782-47AA-889E-1788E3884B7F}"/>
          </ac:spMkLst>
        </pc:spChg>
        <pc:spChg chg="mod">
          <ac:chgData name="Gaiye Zhou" userId="57624dc8-72d9-4103-85d2-3bb69491f2d7" providerId="ADAL" clId="{CAF7940B-39B8-445E-984B-99E1A44C3CD7}" dt="2018-07-23T22:27:53.102" v="15743" actId="113"/>
          <ac:spMkLst>
            <pc:docMk/>
            <pc:sldMk cId="320203271" sldId="393"/>
            <ac:spMk id="79" creationId="{473553EC-4A8F-4906-9456-26ADC60F7AA5}"/>
          </ac:spMkLst>
        </pc:spChg>
        <pc:spChg chg="mod">
          <ac:chgData name="Gaiye Zhou" userId="57624dc8-72d9-4103-85d2-3bb69491f2d7" providerId="ADAL" clId="{CAF7940B-39B8-445E-984B-99E1A44C3CD7}" dt="2018-07-23T22:06:39.525" v="15084" actId="113"/>
          <ac:spMkLst>
            <pc:docMk/>
            <pc:sldMk cId="320203271" sldId="393"/>
            <ac:spMk id="82" creationId="{C95D8FCC-792E-4590-ACDA-84A79304C3DA}"/>
          </ac:spMkLst>
        </pc:spChg>
        <pc:spChg chg="del mod">
          <ac:chgData name="Gaiye Zhou" userId="57624dc8-72d9-4103-85d2-3bb69491f2d7" providerId="ADAL" clId="{CAF7940B-39B8-445E-984B-99E1A44C3CD7}" dt="2018-07-20T22:21:55.653" v="11706" actId="478"/>
          <ac:spMkLst>
            <pc:docMk/>
            <pc:sldMk cId="320203271" sldId="393"/>
            <ac:spMk id="83" creationId="{197D675A-3EF0-4AA2-92E4-6E86032DAE7B}"/>
          </ac:spMkLst>
        </pc:spChg>
        <pc:spChg chg="mod">
          <ac:chgData name="Gaiye Zhou" userId="57624dc8-72d9-4103-85d2-3bb69491f2d7" providerId="ADAL" clId="{CAF7940B-39B8-445E-984B-99E1A44C3CD7}" dt="2018-07-23T22:06:13.420" v="15081" actId="1035"/>
          <ac:spMkLst>
            <pc:docMk/>
            <pc:sldMk cId="320203271" sldId="393"/>
            <ac:spMk id="84" creationId="{E2A42D68-FA4D-455E-BD3F-BFDDAF214857}"/>
          </ac:spMkLst>
        </pc:spChg>
        <pc:spChg chg="mod">
          <ac:chgData name="Gaiye Zhou" userId="57624dc8-72d9-4103-85d2-3bb69491f2d7" providerId="ADAL" clId="{CAF7940B-39B8-445E-984B-99E1A44C3CD7}" dt="2018-07-23T22:06:04.765" v="15065" actId="14100"/>
          <ac:spMkLst>
            <pc:docMk/>
            <pc:sldMk cId="320203271" sldId="393"/>
            <ac:spMk id="85" creationId="{3B72AF0C-8BD1-4B34-B90C-91C7F24368B6}"/>
          </ac:spMkLst>
        </pc:spChg>
        <pc:spChg chg="mod">
          <ac:chgData name="Gaiye Zhou" userId="57624dc8-72d9-4103-85d2-3bb69491f2d7" providerId="ADAL" clId="{CAF7940B-39B8-445E-984B-99E1A44C3CD7}" dt="2018-07-23T22:06:13.420" v="15081" actId="1035"/>
          <ac:spMkLst>
            <pc:docMk/>
            <pc:sldMk cId="320203271" sldId="393"/>
            <ac:spMk id="86" creationId="{3DAABD03-0356-42EE-B92D-799FA7B6771A}"/>
          </ac:spMkLst>
        </pc:spChg>
        <pc:spChg chg="mod">
          <ac:chgData name="Gaiye Zhou" userId="57624dc8-72d9-4103-85d2-3bb69491f2d7" providerId="ADAL" clId="{CAF7940B-39B8-445E-984B-99E1A44C3CD7}" dt="2018-07-23T22:06:13.420" v="15081" actId="1035"/>
          <ac:spMkLst>
            <pc:docMk/>
            <pc:sldMk cId="320203271" sldId="393"/>
            <ac:spMk id="88" creationId="{1315497A-938E-430F-8682-EB8DB88AD41E}"/>
          </ac:spMkLst>
        </pc:spChg>
        <pc:spChg chg="mod">
          <ac:chgData name="Gaiye Zhou" userId="57624dc8-72d9-4103-85d2-3bb69491f2d7" providerId="ADAL" clId="{CAF7940B-39B8-445E-984B-99E1A44C3CD7}" dt="2018-07-23T22:06:02.596" v="15064" actId="14100"/>
          <ac:spMkLst>
            <pc:docMk/>
            <pc:sldMk cId="320203271" sldId="393"/>
            <ac:spMk id="90" creationId="{02AF4C18-8C5C-40A1-98BB-79AE7EB421E9}"/>
          </ac:spMkLst>
        </pc:spChg>
        <pc:spChg chg="mod">
          <ac:chgData name="Gaiye Zhou" userId="57624dc8-72d9-4103-85d2-3bb69491f2d7" providerId="ADAL" clId="{CAF7940B-39B8-445E-984B-99E1A44C3CD7}" dt="2018-07-23T22:27:58.408" v="15744" actId="113"/>
          <ac:spMkLst>
            <pc:docMk/>
            <pc:sldMk cId="320203271" sldId="393"/>
            <ac:spMk id="91" creationId="{680365A5-5520-452A-B6CC-152E9986EE7F}"/>
          </ac:spMkLst>
        </pc:spChg>
        <pc:graphicFrameChg chg="add del">
          <ac:chgData name="Gaiye Zhou" userId="57624dc8-72d9-4103-85d2-3bb69491f2d7" providerId="ADAL" clId="{CAF7940B-39B8-445E-984B-99E1A44C3CD7}" dt="2018-07-23T22:04:23.406" v="15054"/>
          <ac:graphicFrameMkLst>
            <pc:docMk/>
            <pc:sldMk cId="320203271" sldId="393"/>
            <ac:graphicFrameMk id="2" creationId="{1D435893-F21E-428B-8DDD-BF81BF16FDDD}"/>
          </ac:graphicFrameMkLst>
        </pc:graphicFrameChg>
        <pc:picChg chg="add del mod">
          <ac:chgData name="Gaiye Zhou" userId="57624dc8-72d9-4103-85d2-3bb69491f2d7" providerId="ADAL" clId="{CAF7940B-39B8-445E-984B-99E1A44C3CD7}" dt="2018-07-20T22:23:12.533" v="11709" actId="478"/>
          <ac:picMkLst>
            <pc:docMk/>
            <pc:sldMk cId="320203271" sldId="393"/>
            <ac:picMk id="2" creationId="{D288BF4D-63F8-4A2C-AF3A-2A6D89E83445}"/>
          </ac:picMkLst>
        </pc:picChg>
        <pc:picChg chg="add del mod">
          <ac:chgData name="Gaiye Zhou" userId="57624dc8-72d9-4103-85d2-3bb69491f2d7" providerId="ADAL" clId="{CAF7940B-39B8-445E-984B-99E1A44C3CD7}" dt="2018-07-23T22:04:18.173" v="15052" actId="478"/>
          <ac:picMkLst>
            <pc:docMk/>
            <pc:sldMk cId="320203271" sldId="393"/>
            <ac:picMk id="3" creationId="{D1B20DBC-8BC1-41FD-8877-8398F073AE14}"/>
          </ac:picMkLst>
        </pc:picChg>
        <pc:picChg chg="add del mod">
          <ac:chgData name="Gaiye Zhou" userId="57624dc8-72d9-4103-85d2-3bb69491f2d7" providerId="ADAL" clId="{CAF7940B-39B8-445E-984B-99E1A44C3CD7}" dt="2018-07-23T22:05:04.076" v="15057" actId="478"/>
          <ac:picMkLst>
            <pc:docMk/>
            <pc:sldMk cId="320203271" sldId="393"/>
            <ac:picMk id="4" creationId="{01D770D8-E38A-4373-9ABE-F6DC249F07BD}"/>
          </ac:picMkLst>
        </pc:picChg>
        <pc:picChg chg="add del mod">
          <ac:chgData name="Gaiye Zhou" userId="57624dc8-72d9-4103-85d2-3bb69491f2d7" providerId="ADAL" clId="{CAF7940B-39B8-445E-984B-99E1A44C3CD7}" dt="2018-07-23T22:27:11.311" v="15735" actId="478"/>
          <ac:picMkLst>
            <pc:docMk/>
            <pc:sldMk cId="320203271" sldId="393"/>
            <ac:picMk id="5" creationId="{CE4D917A-2353-48B3-8A34-EE42BD98E746}"/>
          </ac:picMkLst>
        </pc:picChg>
        <pc:picChg chg="add mod">
          <ac:chgData name="Gaiye Zhou" userId="57624dc8-72d9-4103-85d2-3bb69491f2d7" providerId="ADAL" clId="{CAF7940B-39B8-445E-984B-99E1A44C3CD7}" dt="2018-07-23T22:27:22.360" v="15739" actId="1076"/>
          <ac:picMkLst>
            <pc:docMk/>
            <pc:sldMk cId="320203271" sldId="393"/>
            <ac:picMk id="25" creationId="{140F6583-AC76-478A-9733-F848D40D68A0}"/>
          </ac:picMkLst>
        </pc:picChg>
        <pc:picChg chg="add mod">
          <ac:chgData name="Gaiye Zhou" userId="57624dc8-72d9-4103-85d2-3bb69491f2d7" providerId="ADAL" clId="{CAF7940B-39B8-445E-984B-99E1A44C3CD7}" dt="2018-07-12T14:02:12.112" v="6473" actId="1076"/>
          <ac:picMkLst>
            <pc:docMk/>
            <pc:sldMk cId="320203271" sldId="393"/>
            <ac:picMk id="40" creationId="{5C684C94-2C9E-47AA-8943-39BEF3114746}"/>
          </ac:picMkLst>
        </pc:picChg>
        <pc:picChg chg="del mod">
          <ac:chgData name="Gaiye Zhou" userId="57624dc8-72d9-4103-85d2-3bb69491f2d7" providerId="ADAL" clId="{CAF7940B-39B8-445E-984B-99E1A44C3CD7}" dt="2018-07-20T22:21:48.981" v="11703" actId="478"/>
          <ac:picMkLst>
            <pc:docMk/>
            <pc:sldMk cId="320203271" sldId="393"/>
            <ac:picMk id="73" creationId="{912707CF-2C3D-4912-8674-B3A19D8FCB8F}"/>
          </ac:picMkLst>
        </pc:picChg>
        <pc:picChg chg="mod">
          <ac:chgData name="Gaiye Zhou" userId="57624dc8-72d9-4103-85d2-3bb69491f2d7" providerId="ADAL" clId="{CAF7940B-39B8-445E-984B-99E1A44C3CD7}" dt="2018-07-20T22:28:07.644" v="11841" actId="1076"/>
          <ac:picMkLst>
            <pc:docMk/>
            <pc:sldMk cId="320203271" sldId="393"/>
            <ac:picMk id="75" creationId="{803F3CB5-9663-45A2-A71F-F81841199A73}"/>
          </ac:picMkLst>
        </pc:picChg>
        <pc:picChg chg="mod">
          <ac:chgData name="Gaiye Zhou" userId="57624dc8-72d9-4103-85d2-3bb69491f2d7" providerId="ADAL" clId="{CAF7940B-39B8-445E-984B-99E1A44C3CD7}" dt="2018-07-23T22:06:13.420" v="15081" actId="1035"/>
          <ac:picMkLst>
            <pc:docMk/>
            <pc:sldMk cId="320203271" sldId="393"/>
            <ac:picMk id="76" creationId="{EC17347B-ED63-4FA7-AA11-C1566B5C7FF3}"/>
          </ac:picMkLst>
        </pc:picChg>
        <pc:picChg chg="mod">
          <ac:chgData name="Gaiye Zhou" userId="57624dc8-72d9-4103-85d2-3bb69491f2d7" providerId="ADAL" clId="{CAF7940B-39B8-445E-984B-99E1A44C3CD7}" dt="2018-07-23T22:06:13.420" v="15081" actId="1035"/>
          <ac:picMkLst>
            <pc:docMk/>
            <pc:sldMk cId="320203271" sldId="393"/>
            <ac:picMk id="80" creationId="{E29D81E1-AEC5-49D2-9CB4-33CF5723E5B3}"/>
          </ac:picMkLst>
        </pc:picChg>
        <pc:picChg chg="mod">
          <ac:chgData name="Gaiye Zhou" userId="57624dc8-72d9-4103-85d2-3bb69491f2d7" providerId="ADAL" clId="{CAF7940B-39B8-445E-984B-99E1A44C3CD7}" dt="2018-07-23T22:06:13.420" v="15081" actId="1035"/>
          <ac:picMkLst>
            <pc:docMk/>
            <pc:sldMk cId="320203271" sldId="393"/>
            <ac:picMk id="81" creationId="{F054F959-1128-4013-9E9B-FA2E8447C8FB}"/>
          </ac:picMkLst>
        </pc:picChg>
        <pc:picChg chg="mod">
          <ac:chgData name="Gaiye Zhou" userId="57624dc8-72d9-4103-85d2-3bb69491f2d7" providerId="ADAL" clId="{CAF7940B-39B8-445E-984B-99E1A44C3CD7}" dt="2018-07-23T22:06:13.420" v="15081" actId="1035"/>
          <ac:picMkLst>
            <pc:docMk/>
            <pc:sldMk cId="320203271" sldId="393"/>
            <ac:picMk id="87" creationId="{1BA85DEA-BAA4-4C93-95F9-D43628B8E736}"/>
          </ac:picMkLst>
        </pc:picChg>
        <pc:picChg chg="mod">
          <ac:chgData name="Gaiye Zhou" userId="57624dc8-72d9-4103-85d2-3bb69491f2d7" providerId="ADAL" clId="{CAF7940B-39B8-445E-984B-99E1A44C3CD7}" dt="2018-07-20T22:28:07.644" v="11841" actId="1076"/>
          <ac:picMkLst>
            <pc:docMk/>
            <pc:sldMk cId="320203271" sldId="393"/>
            <ac:picMk id="89" creationId="{D45E4F5F-BB26-42B2-AA5A-6E2167623CA8}"/>
          </ac:picMkLst>
        </pc:picChg>
      </pc:sldChg>
      <pc:sldChg chg="modSp">
        <pc:chgData name="Gaiye Zhou" userId="57624dc8-72d9-4103-85d2-3bb69491f2d7" providerId="ADAL" clId="{CAF7940B-39B8-445E-984B-99E1A44C3CD7}" dt="2018-07-23T22:34:53.922" v="15772" actId="2711"/>
        <pc:sldMkLst>
          <pc:docMk/>
          <pc:sldMk cId="3958143876" sldId="394"/>
        </pc:sldMkLst>
        <pc:spChg chg="mod">
          <ac:chgData name="Gaiye Zhou" userId="57624dc8-72d9-4103-85d2-3bb69491f2d7" providerId="ADAL" clId="{CAF7940B-39B8-445E-984B-99E1A44C3CD7}" dt="2018-07-23T22:34:53.922" v="15772" actId="2711"/>
          <ac:spMkLst>
            <pc:docMk/>
            <pc:sldMk cId="3958143876" sldId="394"/>
            <ac:spMk id="9" creationId="{05B49E3D-7B28-4F05-8AE2-6DFCF7E4E738}"/>
          </ac:spMkLst>
        </pc:spChg>
      </pc:sldChg>
      <pc:sldChg chg="modSp">
        <pc:chgData name="Gaiye Zhou" userId="57624dc8-72d9-4103-85d2-3bb69491f2d7" providerId="ADAL" clId="{CAF7940B-39B8-445E-984B-99E1A44C3CD7}" dt="2018-07-23T22:33:52.857" v="15762" actId="2711"/>
        <pc:sldMkLst>
          <pc:docMk/>
          <pc:sldMk cId="3556672449" sldId="396"/>
        </pc:sldMkLst>
        <pc:spChg chg="mod">
          <ac:chgData name="Gaiye Zhou" userId="57624dc8-72d9-4103-85d2-3bb69491f2d7" providerId="ADAL" clId="{CAF7940B-39B8-445E-984B-99E1A44C3CD7}" dt="2018-07-23T22:33:52.857" v="15762" actId="2711"/>
          <ac:spMkLst>
            <pc:docMk/>
            <pc:sldMk cId="3556672449" sldId="396"/>
            <ac:spMk id="9" creationId="{93DE1C76-EA16-4CE4-A203-F7C17752EF4C}"/>
          </ac:spMkLst>
        </pc:spChg>
      </pc:sldChg>
      <pc:sldChg chg="modSp">
        <pc:chgData name="Gaiye Zhou" userId="57624dc8-72d9-4103-85d2-3bb69491f2d7" providerId="ADAL" clId="{CAF7940B-39B8-445E-984B-99E1A44C3CD7}" dt="2018-07-23T22:34:33.352" v="15770" actId="20577"/>
        <pc:sldMkLst>
          <pc:docMk/>
          <pc:sldMk cId="440031955" sldId="397"/>
        </pc:sldMkLst>
        <pc:spChg chg="mod">
          <ac:chgData name="Gaiye Zhou" userId="57624dc8-72d9-4103-85d2-3bb69491f2d7" providerId="ADAL" clId="{CAF7940B-39B8-445E-984B-99E1A44C3CD7}" dt="2018-07-23T22:34:33.352" v="15770" actId="20577"/>
          <ac:spMkLst>
            <pc:docMk/>
            <pc:sldMk cId="440031955" sldId="397"/>
            <ac:spMk id="9" creationId="{93DE1C76-EA16-4CE4-A203-F7C17752EF4C}"/>
          </ac:spMkLst>
        </pc:spChg>
      </pc:sldChg>
      <pc:sldChg chg="modSp">
        <pc:chgData name="Gaiye Zhou" userId="57624dc8-72d9-4103-85d2-3bb69491f2d7" providerId="ADAL" clId="{CAF7940B-39B8-445E-984B-99E1A44C3CD7}" dt="2018-08-29T00:28:24.896" v="25413" actId="14734"/>
        <pc:sldMkLst>
          <pc:docMk/>
          <pc:sldMk cId="3995148161" sldId="398"/>
        </pc:sldMkLst>
        <pc:spChg chg="mod">
          <ac:chgData name="Gaiye Zhou" userId="57624dc8-72d9-4103-85d2-3bb69491f2d7" providerId="ADAL" clId="{CAF7940B-39B8-445E-984B-99E1A44C3CD7}" dt="2018-07-23T23:02:11.887" v="17321" actId="313"/>
          <ac:spMkLst>
            <pc:docMk/>
            <pc:sldMk cId="3995148161" sldId="398"/>
            <ac:spMk id="28" creationId="{39554714-BDAE-4E5D-88C3-453D13CBFA82}"/>
          </ac:spMkLst>
        </pc:spChg>
        <pc:graphicFrameChg chg="modGraphic">
          <ac:chgData name="Gaiye Zhou" userId="57624dc8-72d9-4103-85d2-3bb69491f2d7" providerId="ADAL" clId="{CAF7940B-39B8-445E-984B-99E1A44C3CD7}" dt="2018-08-29T00:28:24.896" v="25413" actId="14734"/>
          <ac:graphicFrameMkLst>
            <pc:docMk/>
            <pc:sldMk cId="3995148161" sldId="398"/>
            <ac:graphicFrameMk id="25" creationId="{51C1E99E-53E9-4CE1-B781-7FB92570AAB3}"/>
          </ac:graphicFrameMkLst>
        </pc:graphicFrameChg>
      </pc:sldChg>
      <pc:sldChg chg="modSp">
        <pc:chgData name="Gaiye Zhou" userId="57624dc8-72d9-4103-85d2-3bb69491f2d7" providerId="ADAL" clId="{CAF7940B-39B8-445E-984B-99E1A44C3CD7}" dt="2018-07-24T16:22:29.796" v="19870" actId="207"/>
        <pc:sldMkLst>
          <pc:docMk/>
          <pc:sldMk cId="1011761252" sldId="400"/>
        </pc:sldMkLst>
        <pc:spChg chg="mod">
          <ac:chgData name="Gaiye Zhou" userId="57624dc8-72d9-4103-85d2-3bb69491f2d7" providerId="ADAL" clId="{CAF7940B-39B8-445E-984B-99E1A44C3CD7}" dt="2018-07-24T16:22:29.796" v="19870" actId="207"/>
          <ac:spMkLst>
            <pc:docMk/>
            <pc:sldMk cId="1011761252" sldId="400"/>
            <ac:spMk id="28" creationId="{39554714-BDAE-4E5D-88C3-453D13CBFA82}"/>
          </ac:spMkLst>
        </pc:spChg>
      </pc:sldChg>
      <pc:sldChg chg="addSp delSp modSp ord">
        <pc:chgData name="Gaiye Zhou" userId="57624dc8-72d9-4103-85d2-3bb69491f2d7" providerId="ADAL" clId="{CAF7940B-39B8-445E-984B-99E1A44C3CD7}" dt="2018-07-12T13:36:12.516" v="6132" actId="313"/>
        <pc:sldMkLst>
          <pc:docMk/>
          <pc:sldMk cId="3388178661" sldId="401"/>
        </pc:sldMkLst>
        <pc:spChg chg="mod">
          <ac:chgData name="Gaiye Zhou" userId="57624dc8-72d9-4103-85d2-3bb69491f2d7" providerId="ADAL" clId="{CAF7940B-39B8-445E-984B-99E1A44C3CD7}" dt="2018-07-12T13:36:12.516" v="6132" actId="313"/>
          <ac:spMkLst>
            <pc:docMk/>
            <pc:sldMk cId="3388178661" sldId="401"/>
            <ac:spMk id="4" creationId="{DF6CC1F4-E214-43D2-9848-021D22E05AB5}"/>
          </ac:spMkLst>
        </pc:spChg>
        <pc:spChg chg="mod">
          <ac:chgData name="Gaiye Zhou" userId="57624dc8-72d9-4103-85d2-3bb69491f2d7" providerId="ADAL" clId="{CAF7940B-39B8-445E-984B-99E1A44C3CD7}" dt="2018-07-11T18:05:18.375" v="705" actId="20577"/>
          <ac:spMkLst>
            <pc:docMk/>
            <pc:sldMk cId="3388178661" sldId="401"/>
            <ac:spMk id="6" creationId="{44E5690F-35AB-40A3-AF7A-1F83F8B85A15}"/>
          </ac:spMkLst>
        </pc:spChg>
        <pc:spChg chg="add del mod">
          <ac:chgData name="Gaiye Zhou" userId="57624dc8-72d9-4103-85d2-3bb69491f2d7" providerId="ADAL" clId="{CAF7940B-39B8-445E-984B-99E1A44C3CD7}" dt="2018-07-11T18:14:17.949" v="1242" actId="20577"/>
          <ac:spMkLst>
            <pc:docMk/>
            <pc:sldMk cId="3388178661" sldId="401"/>
            <ac:spMk id="26" creationId="{CA1211CA-CC88-4AFF-BCD0-981367D2CA89}"/>
          </ac:spMkLst>
        </pc:spChg>
      </pc:sldChg>
      <pc:sldChg chg="addSp delSp modSp">
        <pc:chgData name="Gaiye Zhou" userId="57624dc8-72d9-4103-85d2-3bb69491f2d7" providerId="ADAL" clId="{CAF7940B-39B8-445E-984B-99E1A44C3CD7}" dt="2018-07-20T23:01:03.101" v="12008" actId="207"/>
        <pc:sldMkLst>
          <pc:docMk/>
          <pc:sldMk cId="1785722168" sldId="402"/>
        </pc:sldMkLst>
        <pc:spChg chg="add del mod">
          <ac:chgData name="Gaiye Zhou" userId="57624dc8-72d9-4103-85d2-3bb69491f2d7" providerId="ADAL" clId="{CAF7940B-39B8-445E-984B-99E1A44C3CD7}" dt="2018-07-20T23:00:48.612" v="12007" actId="478"/>
          <ac:spMkLst>
            <pc:docMk/>
            <pc:sldMk cId="1785722168" sldId="402"/>
            <ac:spMk id="2" creationId="{55F62C91-E086-4900-B161-37136EB12ED8}"/>
          </ac:spMkLst>
        </pc:spChg>
        <pc:spChg chg="add del mod">
          <ac:chgData name="Gaiye Zhou" userId="57624dc8-72d9-4103-85d2-3bb69491f2d7" providerId="ADAL" clId="{CAF7940B-39B8-445E-984B-99E1A44C3CD7}" dt="2018-07-20T22:57:22.356" v="12005" actId="478"/>
          <ac:spMkLst>
            <pc:docMk/>
            <pc:sldMk cId="1785722168" sldId="402"/>
            <ac:spMk id="23" creationId="{873ECE23-B0D7-4455-9FF7-244F32F16B64}"/>
          </ac:spMkLst>
        </pc:spChg>
        <pc:graphicFrameChg chg="mod modGraphic">
          <ac:chgData name="Gaiye Zhou" userId="57624dc8-72d9-4103-85d2-3bb69491f2d7" providerId="ADAL" clId="{CAF7940B-39B8-445E-984B-99E1A44C3CD7}" dt="2018-07-20T23:01:03.101" v="12008" actId="207"/>
          <ac:graphicFrameMkLst>
            <pc:docMk/>
            <pc:sldMk cId="1785722168" sldId="402"/>
            <ac:graphicFrameMk id="25" creationId="{E951E5CF-4256-4ED5-A32C-20D292BD76C8}"/>
          </ac:graphicFrameMkLst>
        </pc:graphicFrameChg>
      </pc:sldChg>
      <pc:sldChg chg="modSp">
        <pc:chgData name="Gaiye Zhou" userId="57624dc8-72d9-4103-85d2-3bb69491f2d7" providerId="ADAL" clId="{CAF7940B-39B8-445E-984B-99E1A44C3CD7}" dt="2018-07-24T16:23:20.786" v="19875" actId="20577"/>
        <pc:sldMkLst>
          <pc:docMk/>
          <pc:sldMk cId="3391008058" sldId="404"/>
        </pc:sldMkLst>
        <pc:spChg chg="mod">
          <ac:chgData name="Gaiye Zhou" userId="57624dc8-72d9-4103-85d2-3bb69491f2d7" providerId="ADAL" clId="{CAF7940B-39B8-445E-984B-99E1A44C3CD7}" dt="2018-07-24T16:23:20.786" v="19875" actId="20577"/>
          <ac:spMkLst>
            <pc:docMk/>
            <pc:sldMk cId="3391008058" sldId="404"/>
            <ac:spMk id="27" creationId="{0D9D5CAD-CCC9-480D-BD43-D21FB50D3783}"/>
          </ac:spMkLst>
        </pc:spChg>
        <pc:graphicFrameChg chg="modGraphic">
          <ac:chgData name="Gaiye Zhou" userId="57624dc8-72d9-4103-85d2-3bb69491f2d7" providerId="ADAL" clId="{CAF7940B-39B8-445E-984B-99E1A44C3CD7}" dt="2018-07-20T19:39:00.465" v="11171" actId="14734"/>
          <ac:graphicFrameMkLst>
            <pc:docMk/>
            <pc:sldMk cId="3391008058" sldId="404"/>
            <ac:graphicFrameMk id="26" creationId="{359F5CE0-1DB8-4A99-A181-6DAD97338C6C}"/>
          </ac:graphicFrameMkLst>
        </pc:graphicFrameChg>
      </pc:sldChg>
      <pc:sldChg chg="addSp delSp modSp">
        <pc:chgData name="Gaiye Zhou" userId="57624dc8-72d9-4103-85d2-3bb69491f2d7" providerId="ADAL" clId="{CAF7940B-39B8-445E-984B-99E1A44C3CD7}" dt="2018-07-23T22:37:56.030" v="15782" actId="113"/>
        <pc:sldMkLst>
          <pc:docMk/>
          <pc:sldMk cId="3065577866" sldId="406"/>
        </pc:sldMkLst>
        <pc:spChg chg="mod">
          <ac:chgData name="Gaiye Zhou" userId="57624dc8-72d9-4103-85d2-3bb69491f2d7" providerId="ADAL" clId="{CAF7940B-39B8-445E-984B-99E1A44C3CD7}" dt="2018-07-12T19:32:08.295" v="7994" actId="20577"/>
          <ac:spMkLst>
            <pc:docMk/>
            <pc:sldMk cId="3065577866" sldId="406"/>
            <ac:spMk id="32" creationId="{EFBED397-E0BE-4440-A10F-E2D8566D5F21}"/>
          </ac:spMkLst>
        </pc:spChg>
        <pc:spChg chg="add mod ord">
          <ac:chgData name="Gaiye Zhou" userId="57624dc8-72d9-4103-85d2-3bb69491f2d7" providerId="ADAL" clId="{CAF7940B-39B8-445E-984B-99E1A44C3CD7}" dt="2018-07-23T21:48:08.954" v="15017" actId="1076"/>
          <ac:spMkLst>
            <pc:docMk/>
            <pc:sldMk cId="3065577866" sldId="406"/>
            <ac:spMk id="34" creationId="{CF6098F2-155C-4EC0-BB5B-0EC597BFAF7B}"/>
          </ac:spMkLst>
        </pc:spChg>
        <pc:spChg chg="add del mod">
          <ac:chgData name="Gaiye Zhou" userId="57624dc8-72d9-4103-85d2-3bb69491f2d7" providerId="ADAL" clId="{CAF7940B-39B8-445E-984B-99E1A44C3CD7}" dt="2018-07-17T01:45:14.247" v="10797" actId="478"/>
          <ac:spMkLst>
            <pc:docMk/>
            <pc:sldMk cId="3065577866" sldId="406"/>
            <ac:spMk id="35" creationId="{EC3A4E21-E053-421E-B758-5959CFCDFD1B}"/>
          </ac:spMkLst>
        </pc:spChg>
        <pc:spChg chg="add mod ord">
          <ac:chgData name="Gaiye Zhou" userId="57624dc8-72d9-4103-85d2-3bb69491f2d7" providerId="ADAL" clId="{CAF7940B-39B8-445E-984B-99E1A44C3CD7}" dt="2018-07-23T21:47:48.239" v="15015" actId="1076"/>
          <ac:spMkLst>
            <pc:docMk/>
            <pc:sldMk cId="3065577866" sldId="406"/>
            <ac:spMk id="36" creationId="{6B13ADC1-0F89-40F7-B1E4-C1590B269FCB}"/>
          </ac:spMkLst>
        </pc:spChg>
        <pc:spChg chg="mod">
          <ac:chgData name="Gaiye Zhou" userId="57624dc8-72d9-4103-85d2-3bb69491f2d7" providerId="ADAL" clId="{CAF7940B-39B8-445E-984B-99E1A44C3CD7}" dt="2018-07-23T17:16:22.142" v="12949" actId="1035"/>
          <ac:spMkLst>
            <pc:docMk/>
            <pc:sldMk cId="3065577866" sldId="406"/>
            <ac:spMk id="40" creationId="{88D11C86-6D6F-4C93-9F6F-67835769E560}"/>
          </ac:spMkLst>
        </pc:spChg>
        <pc:spChg chg="mod">
          <ac:chgData name="Gaiye Zhou" userId="57624dc8-72d9-4103-85d2-3bb69491f2d7" providerId="ADAL" clId="{CAF7940B-39B8-445E-984B-99E1A44C3CD7}" dt="2018-07-23T17:16:22.142" v="12949" actId="1035"/>
          <ac:spMkLst>
            <pc:docMk/>
            <pc:sldMk cId="3065577866" sldId="406"/>
            <ac:spMk id="42" creationId="{69B4F822-E375-4552-84A1-EB88458F9564}"/>
          </ac:spMkLst>
        </pc:spChg>
        <pc:spChg chg="mod">
          <ac:chgData name="Gaiye Zhou" userId="57624dc8-72d9-4103-85d2-3bb69491f2d7" providerId="ADAL" clId="{CAF7940B-39B8-445E-984B-99E1A44C3CD7}" dt="2018-07-23T22:37:56.030" v="15782" actId="113"/>
          <ac:spMkLst>
            <pc:docMk/>
            <pc:sldMk cId="3065577866" sldId="406"/>
            <ac:spMk id="45" creationId="{4D35E809-A2B3-4087-AE25-B4A174E11EFA}"/>
          </ac:spMkLst>
        </pc:spChg>
        <pc:spChg chg="mod">
          <ac:chgData name="Gaiye Zhou" userId="57624dc8-72d9-4103-85d2-3bb69491f2d7" providerId="ADAL" clId="{CAF7940B-39B8-445E-984B-99E1A44C3CD7}" dt="2018-07-23T17:16:22.142" v="12949" actId="1035"/>
          <ac:spMkLst>
            <pc:docMk/>
            <pc:sldMk cId="3065577866" sldId="406"/>
            <ac:spMk id="46" creationId="{A2D3CD78-059A-46EF-AB7D-92F2B6532417}"/>
          </ac:spMkLst>
        </pc:spChg>
        <pc:spChg chg="mod">
          <ac:chgData name="Gaiye Zhou" userId="57624dc8-72d9-4103-85d2-3bb69491f2d7" providerId="ADAL" clId="{CAF7940B-39B8-445E-984B-99E1A44C3CD7}" dt="2018-07-23T17:16:22.142" v="12949" actId="1035"/>
          <ac:spMkLst>
            <pc:docMk/>
            <pc:sldMk cId="3065577866" sldId="406"/>
            <ac:spMk id="52" creationId="{F051F300-EC17-4889-A0ED-300D475178C0}"/>
          </ac:spMkLst>
        </pc:spChg>
        <pc:spChg chg="mod">
          <ac:chgData name="Gaiye Zhou" userId="57624dc8-72d9-4103-85d2-3bb69491f2d7" providerId="ADAL" clId="{CAF7940B-39B8-445E-984B-99E1A44C3CD7}" dt="2018-07-23T17:16:22.142" v="12949" actId="1035"/>
          <ac:spMkLst>
            <pc:docMk/>
            <pc:sldMk cId="3065577866" sldId="406"/>
            <ac:spMk id="57" creationId="{955A81F2-2117-4D3C-A3BF-8EEE908C4BE8}"/>
          </ac:spMkLst>
        </pc:spChg>
        <pc:spChg chg="mod">
          <ac:chgData name="Gaiye Zhou" userId="57624dc8-72d9-4103-85d2-3bb69491f2d7" providerId="ADAL" clId="{CAF7940B-39B8-445E-984B-99E1A44C3CD7}" dt="2018-07-23T17:16:22.142" v="12949" actId="1035"/>
          <ac:spMkLst>
            <pc:docMk/>
            <pc:sldMk cId="3065577866" sldId="406"/>
            <ac:spMk id="58" creationId="{88175C1B-3FAC-48EC-B519-530EAC397F01}"/>
          </ac:spMkLst>
        </pc:spChg>
        <pc:picChg chg="add del mod">
          <ac:chgData name="Gaiye Zhou" userId="57624dc8-72d9-4103-85d2-3bb69491f2d7" providerId="ADAL" clId="{CAF7940B-39B8-445E-984B-99E1A44C3CD7}" dt="2018-07-20T21:56:56.915" v="11334" actId="478"/>
          <ac:picMkLst>
            <pc:docMk/>
            <pc:sldMk cId="3065577866" sldId="406"/>
            <ac:picMk id="2" creationId="{28C47E26-2547-4B97-B855-308B29893950}"/>
          </ac:picMkLst>
        </pc:picChg>
        <pc:picChg chg="add mod">
          <ac:chgData name="Gaiye Zhou" userId="57624dc8-72d9-4103-85d2-3bb69491f2d7" providerId="ADAL" clId="{CAF7940B-39B8-445E-984B-99E1A44C3CD7}" dt="2018-07-23T21:47:33.638" v="15012" actId="1076"/>
          <ac:picMkLst>
            <pc:docMk/>
            <pc:sldMk cId="3065577866" sldId="406"/>
            <ac:picMk id="2" creationId="{93C98187-68A4-45EA-BB80-659D6E94A630}"/>
          </ac:picMkLst>
        </pc:picChg>
        <pc:picChg chg="add del mod ord">
          <ac:chgData name="Gaiye Zhou" userId="57624dc8-72d9-4103-85d2-3bb69491f2d7" providerId="ADAL" clId="{CAF7940B-39B8-445E-984B-99E1A44C3CD7}" dt="2018-07-20T23:33:22.834" v="12424" actId="478"/>
          <ac:picMkLst>
            <pc:docMk/>
            <pc:sldMk cId="3065577866" sldId="406"/>
            <ac:picMk id="3" creationId="{732DAC04-1A98-4018-84DE-E7AC865D3177}"/>
          </ac:picMkLst>
        </pc:picChg>
        <pc:picChg chg="add del">
          <ac:chgData name="Gaiye Zhou" userId="57624dc8-72d9-4103-85d2-3bb69491f2d7" providerId="ADAL" clId="{CAF7940B-39B8-445E-984B-99E1A44C3CD7}" dt="2018-07-20T22:32:56.613" v="11905"/>
          <ac:picMkLst>
            <pc:docMk/>
            <pc:sldMk cId="3065577866" sldId="406"/>
            <ac:picMk id="4" creationId="{F024F3C3-412E-4144-B3E5-7EFDF7E06ECD}"/>
          </ac:picMkLst>
        </pc:picChg>
        <pc:picChg chg="add del mod">
          <ac:chgData name="Gaiye Zhou" userId="57624dc8-72d9-4103-85d2-3bb69491f2d7" providerId="ADAL" clId="{CAF7940B-39B8-445E-984B-99E1A44C3CD7}" dt="2018-07-20T23:46:46.884" v="12431" actId="478"/>
          <ac:picMkLst>
            <pc:docMk/>
            <pc:sldMk cId="3065577866" sldId="406"/>
            <ac:picMk id="5" creationId="{7EA9B256-66E2-44DA-9121-211716A94B21}"/>
          </ac:picMkLst>
        </pc:picChg>
        <pc:picChg chg="add del mod">
          <ac:chgData name="Gaiye Zhou" userId="57624dc8-72d9-4103-85d2-3bb69491f2d7" providerId="ADAL" clId="{CAF7940B-39B8-445E-984B-99E1A44C3CD7}" dt="2018-07-23T20:25:29.617" v="15005" actId="478"/>
          <ac:picMkLst>
            <pc:docMk/>
            <pc:sldMk cId="3065577866" sldId="406"/>
            <ac:picMk id="6" creationId="{A8B6D25A-8F85-45E1-A136-D0B519EF2B51}"/>
          </ac:picMkLst>
        </pc:picChg>
        <pc:picChg chg="mod">
          <ac:chgData name="Gaiye Zhou" userId="57624dc8-72d9-4103-85d2-3bb69491f2d7" providerId="ADAL" clId="{CAF7940B-39B8-445E-984B-99E1A44C3CD7}" dt="2018-07-23T17:16:22.142" v="12949" actId="1035"/>
          <ac:picMkLst>
            <pc:docMk/>
            <pc:sldMk cId="3065577866" sldId="406"/>
            <ac:picMk id="33" creationId="{3AF673B7-9B25-4DF2-B769-925F032641B2}"/>
          </ac:picMkLst>
        </pc:picChg>
        <pc:picChg chg="add del">
          <ac:chgData name="Gaiye Zhou" userId="57624dc8-72d9-4103-85d2-3bb69491f2d7" providerId="ADAL" clId="{CAF7940B-39B8-445E-984B-99E1A44C3CD7}" dt="2018-07-17T01:45:12.669" v="10796" actId="478"/>
          <ac:picMkLst>
            <pc:docMk/>
            <pc:sldMk cId="3065577866" sldId="406"/>
            <ac:picMk id="34" creationId="{1E81F86B-108B-4FD5-9822-35B9453E75F4}"/>
          </ac:picMkLst>
        </pc:picChg>
        <pc:picChg chg="mod">
          <ac:chgData name="Gaiye Zhou" userId="57624dc8-72d9-4103-85d2-3bb69491f2d7" providerId="ADAL" clId="{CAF7940B-39B8-445E-984B-99E1A44C3CD7}" dt="2018-07-23T17:16:22.142" v="12949" actId="1035"/>
          <ac:picMkLst>
            <pc:docMk/>
            <pc:sldMk cId="3065577866" sldId="406"/>
            <ac:picMk id="44" creationId="{95515E55-7B90-443B-B03D-974FB68F0649}"/>
          </ac:picMkLst>
        </pc:picChg>
        <pc:picChg chg="mod">
          <ac:chgData name="Gaiye Zhou" userId="57624dc8-72d9-4103-85d2-3bb69491f2d7" providerId="ADAL" clId="{CAF7940B-39B8-445E-984B-99E1A44C3CD7}" dt="2018-07-23T17:16:22.142" v="12949" actId="1035"/>
          <ac:picMkLst>
            <pc:docMk/>
            <pc:sldMk cId="3065577866" sldId="406"/>
            <ac:picMk id="48" creationId="{CE26981A-8B72-4AC5-80F0-800C25466051}"/>
          </ac:picMkLst>
        </pc:picChg>
        <pc:picChg chg="mod">
          <ac:chgData name="Gaiye Zhou" userId="57624dc8-72d9-4103-85d2-3bb69491f2d7" providerId="ADAL" clId="{CAF7940B-39B8-445E-984B-99E1A44C3CD7}" dt="2018-07-23T17:16:22.142" v="12949" actId="1035"/>
          <ac:picMkLst>
            <pc:docMk/>
            <pc:sldMk cId="3065577866" sldId="406"/>
            <ac:picMk id="59" creationId="{056F0E78-BD73-4320-81B4-F874007138AF}"/>
          </ac:picMkLst>
        </pc:picChg>
      </pc:sldChg>
      <pc:sldChg chg="addSp delSp modSp">
        <pc:chgData name="Gaiye Zhou" userId="57624dc8-72d9-4103-85d2-3bb69491f2d7" providerId="ADAL" clId="{CAF7940B-39B8-445E-984B-99E1A44C3CD7}" dt="2018-07-12T19:10:05.178" v="7929" actId="478"/>
        <pc:sldMkLst>
          <pc:docMk/>
          <pc:sldMk cId="1788287088" sldId="407"/>
        </pc:sldMkLst>
        <pc:spChg chg="mod">
          <ac:chgData name="Gaiye Zhou" userId="57624dc8-72d9-4103-85d2-3bb69491f2d7" providerId="ADAL" clId="{CAF7940B-39B8-445E-984B-99E1A44C3CD7}" dt="2018-07-12T13:53:37.317" v="6240" actId="207"/>
          <ac:spMkLst>
            <pc:docMk/>
            <pc:sldMk cId="1788287088" sldId="407"/>
            <ac:spMk id="2" creationId="{76274049-9D3C-4824-8CE5-075A87ED96BB}"/>
          </ac:spMkLst>
        </pc:spChg>
        <pc:spChg chg="add del mod">
          <ac:chgData name="Gaiye Zhou" userId="57624dc8-72d9-4103-85d2-3bb69491f2d7" providerId="ADAL" clId="{CAF7940B-39B8-445E-984B-99E1A44C3CD7}" dt="2018-07-12T13:54:03.247" v="6273" actId="478"/>
          <ac:spMkLst>
            <pc:docMk/>
            <pc:sldMk cId="1788287088" sldId="407"/>
            <ac:spMk id="3" creationId="{356ACC6E-0461-4DF8-A738-21DB02473F80}"/>
          </ac:spMkLst>
        </pc:spChg>
        <pc:spChg chg="add del mod">
          <ac:chgData name="Gaiye Zhou" userId="57624dc8-72d9-4103-85d2-3bb69491f2d7" providerId="ADAL" clId="{CAF7940B-39B8-445E-984B-99E1A44C3CD7}" dt="2018-07-12T19:10:05.178" v="7929" actId="478"/>
          <ac:spMkLst>
            <pc:docMk/>
            <pc:sldMk cId="1788287088" sldId="407"/>
            <ac:spMk id="4" creationId="{82B6A6F5-C87C-46B8-ACDE-68D1606B3234}"/>
          </ac:spMkLst>
        </pc:spChg>
        <pc:spChg chg="mod">
          <ac:chgData name="Gaiye Zhou" userId="57624dc8-72d9-4103-85d2-3bb69491f2d7" providerId="ADAL" clId="{CAF7940B-39B8-445E-984B-99E1A44C3CD7}" dt="2018-07-12T13:52:45.639" v="6239" actId="20577"/>
          <ac:spMkLst>
            <pc:docMk/>
            <pc:sldMk cId="1788287088" sldId="407"/>
            <ac:spMk id="50" creationId="{6589E816-AA9C-492A-91F0-E02D5AF342DF}"/>
          </ac:spMkLst>
        </pc:spChg>
      </pc:sldChg>
      <pc:sldChg chg="modSp ord">
        <pc:chgData name="Gaiye Zhou" userId="57624dc8-72d9-4103-85d2-3bb69491f2d7" providerId="ADAL" clId="{CAF7940B-39B8-445E-984B-99E1A44C3CD7}" dt="2018-07-12T13:36:06.080" v="6125" actId="313"/>
        <pc:sldMkLst>
          <pc:docMk/>
          <pc:sldMk cId="430787465" sldId="408"/>
        </pc:sldMkLst>
        <pc:spChg chg="mod">
          <ac:chgData name="Gaiye Zhou" userId="57624dc8-72d9-4103-85d2-3bb69491f2d7" providerId="ADAL" clId="{CAF7940B-39B8-445E-984B-99E1A44C3CD7}" dt="2018-07-12T13:36:04.508" v="6123" actId="313"/>
          <ac:spMkLst>
            <pc:docMk/>
            <pc:sldMk cId="430787465" sldId="408"/>
            <ac:spMk id="4" creationId="{DF6CC1F4-E214-43D2-9848-021D22E05AB5}"/>
          </ac:spMkLst>
        </pc:spChg>
        <pc:spChg chg="mod">
          <ac:chgData name="Gaiye Zhou" userId="57624dc8-72d9-4103-85d2-3bb69491f2d7" providerId="ADAL" clId="{CAF7940B-39B8-445E-984B-99E1A44C3CD7}" dt="2018-07-11T18:04:11.739" v="694"/>
          <ac:spMkLst>
            <pc:docMk/>
            <pc:sldMk cId="430787465" sldId="408"/>
            <ac:spMk id="6" creationId="{44E5690F-35AB-40A3-AF7A-1F83F8B85A15}"/>
          </ac:spMkLst>
        </pc:spChg>
        <pc:spChg chg="mod">
          <ac:chgData name="Gaiye Zhou" userId="57624dc8-72d9-4103-85d2-3bb69491f2d7" providerId="ADAL" clId="{CAF7940B-39B8-445E-984B-99E1A44C3CD7}" dt="2018-07-12T13:36:06.080" v="6125" actId="313"/>
          <ac:spMkLst>
            <pc:docMk/>
            <pc:sldMk cId="430787465" sldId="408"/>
            <ac:spMk id="26" creationId="{CA1211CA-CC88-4AFF-BCD0-981367D2CA89}"/>
          </ac:spMkLst>
        </pc:spChg>
      </pc:sldChg>
      <pc:sldChg chg="modSp">
        <pc:chgData name="Gaiye Zhou" userId="57624dc8-72d9-4103-85d2-3bb69491f2d7" providerId="ADAL" clId="{CAF7940B-39B8-445E-984B-99E1A44C3CD7}" dt="2018-07-20T23:29:42.095" v="12421" actId="20577"/>
        <pc:sldMkLst>
          <pc:docMk/>
          <pc:sldMk cId="3815569852" sldId="434"/>
        </pc:sldMkLst>
        <pc:spChg chg="mod">
          <ac:chgData name="Gaiye Zhou" userId="57624dc8-72d9-4103-85d2-3bb69491f2d7" providerId="ADAL" clId="{CAF7940B-39B8-445E-984B-99E1A44C3CD7}" dt="2018-07-17T01:43:27.479" v="10795" actId="20577"/>
          <ac:spMkLst>
            <pc:docMk/>
            <pc:sldMk cId="3815569852" sldId="434"/>
            <ac:spMk id="6" creationId="{44E5690F-35AB-40A3-AF7A-1F83F8B85A15}"/>
          </ac:spMkLst>
        </pc:spChg>
        <pc:spChg chg="mod">
          <ac:chgData name="Gaiye Zhou" userId="57624dc8-72d9-4103-85d2-3bb69491f2d7" providerId="ADAL" clId="{CAF7940B-39B8-445E-984B-99E1A44C3CD7}" dt="2018-07-11T16:12:24.163" v="666" actId="313"/>
          <ac:spMkLst>
            <pc:docMk/>
            <pc:sldMk cId="3815569852" sldId="434"/>
            <ac:spMk id="37" creationId="{1EC0BE6D-FEF7-491F-AB0E-8B9E0DE93206}"/>
          </ac:spMkLst>
        </pc:spChg>
        <pc:graphicFrameChg chg="modGraphic">
          <ac:chgData name="Gaiye Zhou" userId="57624dc8-72d9-4103-85d2-3bb69491f2d7" providerId="ADAL" clId="{CAF7940B-39B8-445E-984B-99E1A44C3CD7}" dt="2018-07-20T23:29:42.095" v="12421" actId="20577"/>
          <ac:graphicFrameMkLst>
            <pc:docMk/>
            <pc:sldMk cId="3815569852" sldId="434"/>
            <ac:graphicFrameMk id="38" creationId="{DE1FD390-CD18-44F1-B954-149A725717F9}"/>
          </ac:graphicFrameMkLst>
        </pc:graphicFrameChg>
      </pc:sldChg>
      <pc:sldChg chg="modSp">
        <pc:chgData name="Gaiye Zhou" userId="57624dc8-72d9-4103-85d2-3bb69491f2d7" providerId="ADAL" clId="{CAF7940B-39B8-445E-984B-99E1A44C3CD7}" dt="2018-07-24T16:14:51.261" v="19754" actId="20577"/>
        <pc:sldMkLst>
          <pc:docMk/>
          <pc:sldMk cId="1826086226" sldId="436"/>
        </pc:sldMkLst>
        <pc:spChg chg="mod">
          <ac:chgData name="Gaiye Zhou" userId="57624dc8-72d9-4103-85d2-3bb69491f2d7" providerId="ADAL" clId="{CAF7940B-39B8-445E-984B-99E1A44C3CD7}" dt="2018-07-20T23:52:35.454" v="12473" actId="20577"/>
          <ac:spMkLst>
            <pc:docMk/>
            <pc:sldMk cId="1826086226" sldId="436"/>
            <ac:spMk id="6" creationId="{44E5690F-35AB-40A3-AF7A-1F83F8B85A15}"/>
          </ac:spMkLst>
        </pc:spChg>
        <pc:spChg chg="mod">
          <ac:chgData name="Gaiye Zhou" userId="57624dc8-72d9-4103-85d2-3bb69491f2d7" providerId="ADAL" clId="{CAF7940B-39B8-445E-984B-99E1A44C3CD7}" dt="2018-07-24T16:14:51.261" v="19754" actId="20577"/>
          <ac:spMkLst>
            <pc:docMk/>
            <pc:sldMk cId="1826086226" sldId="436"/>
            <ac:spMk id="37" creationId="{1EC0BE6D-FEF7-491F-AB0E-8B9E0DE93206}"/>
          </ac:spMkLst>
        </pc:spChg>
        <pc:graphicFrameChg chg="mod">
          <ac:chgData name="Gaiye Zhou" userId="57624dc8-72d9-4103-85d2-3bb69491f2d7" providerId="ADAL" clId="{CAF7940B-39B8-445E-984B-99E1A44C3CD7}" dt="2018-07-24T16:13:47.422" v="19746" actId="1076"/>
          <ac:graphicFrameMkLst>
            <pc:docMk/>
            <pc:sldMk cId="1826086226" sldId="436"/>
            <ac:graphicFrameMk id="38" creationId="{DE1FD390-CD18-44F1-B954-149A725717F9}"/>
          </ac:graphicFrameMkLst>
        </pc:graphicFrameChg>
      </pc:sldChg>
      <pc:sldChg chg="addSp delSp modSp modTransition">
        <pc:chgData name="Gaiye Zhou" userId="57624dc8-72d9-4103-85d2-3bb69491f2d7" providerId="ADAL" clId="{CAF7940B-39B8-445E-984B-99E1A44C3CD7}" dt="2018-07-24T16:15:19.905" v="19760" actId="20577"/>
        <pc:sldMkLst>
          <pc:docMk/>
          <pc:sldMk cId="699144315" sldId="437"/>
        </pc:sldMkLst>
        <pc:spChg chg="add del mod">
          <ac:chgData name="Gaiye Zhou" userId="57624dc8-72d9-4103-85d2-3bb69491f2d7" providerId="ADAL" clId="{CAF7940B-39B8-445E-984B-99E1A44C3CD7}" dt="2018-07-23T18:38:02.314" v="13140" actId="478"/>
          <ac:spMkLst>
            <pc:docMk/>
            <pc:sldMk cId="699144315" sldId="437"/>
            <ac:spMk id="3" creationId="{F76A0E89-AC4E-4481-BD3F-C8DA5CABE8A6}"/>
          </ac:spMkLst>
        </pc:spChg>
        <pc:spChg chg="mod">
          <ac:chgData name="Gaiye Zhou" userId="57624dc8-72d9-4103-85d2-3bb69491f2d7" providerId="ADAL" clId="{CAF7940B-39B8-445E-984B-99E1A44C3CD7}" dt="2018-07-12T19:31:44.181" v="7990" actId="20577"/>
          <ac:spMkLst>
            <pc:docMk/>
            <pc:sldMk cId="699144315" sldId="437"/>
            <ac:spMk id="32" creationId="{EFBED397-E0BE-4440-A10F-E2D8566D5F21}"/>
          </ac:spMkLst>
        </pc:spChg>
        <pc:spChg chg="mod">
          <ac:chgData name="Gaiye Zhou" userId="57624dc8-72d9-4103-85d2-3bb69491f2d7" providerId="ADAL" clId="{CAF7940B-39B8-445E-984B-99E1A44C3CD7}" dt="2018-07-23T21:52:54.823" v="15032" actId="1076"/>
          <ac:spMkLst>
            <pc:docMk/>
            <pc:sldMk cId="699144315" sldId="437"/>
            <ac:spMk id="34" creationId="{4F64854C-D99A-4378-ABD7-5F84BC13E4BE}"/>
          </ac:spMkLst>
        </pc:spChg>
        <pc:spChg chg="mod">
          <ac:chgData name="Gaiye Zhou" userId="57624dc8-72d9-4103-85d2-3bb69491f2d7" providerId="ADAL" clId="{CAF7940B-39B8-445E-984B-99E1A44C3CD7}" dt="2018-07-23T21:52:54.823" v="15032" actId="1076"/>
          <ac:spMkLst>
            <pc:docMk/>
            <pc:sldMk cId="699144315" sldId="437"/>
            <ac:spMk id="35" creationId="{771756A3-66A8-4D6B-90AE-0B9B492617B5}"/>
          </ac:spMkLst>
        </pc:spChg>
        <pc:spChg chg="add del mod">
          <ac:chgData name="Gaiye Zhou" userId="57624dc8-72d9-4103-85d2-3bb69491f2d7" providerId="ADAL" clId="{CAF7940B-39B8-445E-984B-99E1A44C3CD7}" dt="2018-07-20T21:58:10.358" v="11379" actId="478"/>
          <ac:spMkLst>
            <pc:docMk/>
            <pc:sldMk cId="699144315" sldId="437"/>
            <ac:spMk id="38" creationId="{E1A961F6-804A-4253-AABF-CC4281747BE9}"/>
          </ac:spMkLst>
        </pc:spChg>
        <pc:spChg chg="mod">
          <ac:chgData name="Gaiye Zhou" userId="57624dc8-72d9-4103-85d2-3bb69491f2d7" providerId="ADAL" clId="{CAF7940B-39B8-445E-984B-99E1A44C3CD7}" dt="2018-07-23T21:52:54.823" v="15032" actId="1076"/>
          <ac:spMkLst>
            <pc:docMk/>
            <pc:sldMk cId="699144315" sldId="437"/>
            <ac:spMk id="40" creationId="{88D11C86-6D6F-4C93-9F6F-67835769E560}"/>
          </ac:spMkLst>
        </pc:spChg>
        <pc:spChg chg="add mod ord">
          <ac:chgData name="Gaiye Zhou" userId="57624dc8-72d9-4103-85d2-3bb69491f2d7" providerId="ADAL" clId="{CAF7940B-39B8-445E-984B-99E1A44C3CD7}" dt="2018-07-23T21:53:26.297" v="15045" actId="1076"/>
          <ac:spMkLst>
            <pc:docMk/>
            <pc:sldMk cId="699144315" sldId="437"/>
            <ac:spMk id="41" creationId="{A7F8087F-9268-4535-86D1-EB20C04CA3A5}"/>
          </ac:spMkLst>
        </pc:spChg>
        <pc:spChg chg="mod">
          <ac:chgData name="Gaiye Zhou" userId="57624dc8-72d9-4103-85d2-3bb69491f2d7" providerId="ADAL" clId="{CAF7940B-39B8-445E-984B-99E1A44C3CD7}" dt="2018-07-24T16:15:19.905" v="19760" actId="20577"/>
          <ac:spMkLst>
            <pc:docMk/>
            <pc:sldMk cId="699144315" sldId="437"/>
            <ac:spMk id="45" creationId="{4D35E809-A2B3-4087-AE25-B4A174E11EFA}"/>
          </ac:spMkLst>
        </pc:spChg>
        <pc:spChg chg="mod">
          <ac:chgData name="Gaiye Zhou" userId="57624dc8-72d9-4103-85d2-3bb69491f2d7" providerId="ADAL" clId="{CAF7940B-39B8-445E-984B-99E1A44C3CD7}" dt="2018-07-23T21:52:54.823" v="15032" actId="1076"/>
          <ac:spMkLst>
            <pc:docMk/>
            <pc:sldMk cId="699144315" sldId="437"/>
            <ac:spMk id="46" creationId="{A2D3CD78-059A-46EF-AB7D-92F2B6532417}"/>
          </ac:spMkLst>
        </pc:spChg>
        <pc:spChg chg="mod">
          <ac:chgData name="Gaiye Zhou" userId="57624dc8-72d9-4103-85d2-3bb69491f2d7" providerId="ADAL" clId="{CAF7940B-39B8-445E-984B-99E1A44C3CD7}" dt="2018-07-23T21:52:54.823" v="15032" actId="1076"/>
          <ac:spMkLst>
            <pc:docMk/>
            <pc:sldMk cId="699144315" sldId="437"/>
            <ac:spMk id="52" creationId="{F051F300-EC17-4889-A0ED-300D475178C0}"/>
          </ac:spMkLst>
        </pc:spChg>
        <pc:spChg chg="mod">
          <ac:chgData name="Gaiye Zhou" userId="57624dc8-72d9-4103-85d2-3bb69491f2d7" providerId="ADAL" clId="{CAF7940B-39B8-445E-984B-99E1A44C3CD7}" dt="2018-07-23T21:53:00.294" v="15034" actId="14100"/>
          <ac:spMkLst>
            <pc:docMk/>
            <pc:sldMk cId="699144315" sldId="437"/>
            <ac:spMk id="57" creationId="{955A81F2-2117-4D3C-A3BF-8EEE908C4BE8}"/>
          </ac:spMkLst>
        </pc:spChg>
        <pc:picChg chg="add del mod">
          <ac:chgData name="Gaiye Zhou" userId="57624dc8-72d9-4103-85d2-3bb69491f2d7" providerId="ADAL" clId="{CAF7940B-39B8-445E-984B-99E1A44C3CD7}" dt="2018-07-23T21:51:58.435" v="15018" actId="478"/>
          <ac:picMkLst>
            <pc:docMk/>
            <pc:sldMk cId="699144315" sldId="437"/>
            <ac:picMk id="2" creationId="{AF5D53B1-01C0-4B0D-BE41-7FB8FD8C703D}"/>
          </ac:picMkLst>
        </pc:picChg>
        <pc:picChg chg="add mod">
          <ac:chgData name="Gaiye Zhou" userId="57624dc8-72d9-4103-85d2-3bb69491f2d7" providerId="ADAL" clId="{CAF7940B-39B8-445E-984B-99E1A44C3CD7}" dt="2018-07-23T21:52:08.407" v="15021" actId="14100"/>
          <ac:picMkLst>
            <pc:docMk/>
            <pc:sldMk cId="699144315" sldId="437"/>
            <ac:picMk id="3" creationId="{2EE43DD7-33BC-487B-98BC-E693424A0221}"/>
          </ac:picMkLst>
        </pc:picChg>
        <pc:picChg chg="mod">
          <ac:chgData name="Gaiye Zhou" userId="57624dc8-72d9-4103-85d2-3bb69491f2d7" providerId="ADAL" clId="{CAF7940B-39B8-445E-984B-99E1A44C3CD7}" dt="2018-07-23T21:52:54.823" v="15032" actId="1076"/>
          <ac:picMkLst>
            <pc:docMk/>
            <pc:sldMk cId="699144315" sldId="437"/>
            <ac:picMk id="33" creationId="{E1F32268-FBDF-46D0-8B23-5019CD343B65}"/>
          </ac:picMkLst>
        </pc:picChg>
        <pc:picChg chg="mod">
          <ac:chgData name="Gaiye Zhou" userId="57624dc8-72d9-4103-85d2-3bb69491f2d7" providerId="ADAL" clId="{CAF7940B-39B8-445E-984B-99E1A44C3CD7}" dt="2018-07-23T21:52:54.823" v="15032" actId="1076"/>
          <ac:picMkLst>
            <pc:docMk/>
            <pc:sldMk cId="699144315" sldId="437"/>
            <ac:picMk id="36" creationId="{B7EB8C74-5CD1-4373-B9EE-CA0866FC24E2}"/>
          </ac:picMkLst>
        </pc:picChg>
        <pc:picChg chg="add del">
          <ac:chgData name="Gaiye Zhou" userId="57624dc8-72d9-4103-85d2-3bb69491f2d7" providerId="ADAL" clId="{CAF7940B-39B8-445E-984B-99E1A44C3CD7}" dt="2018-07-20T21:58:08.806" v="11378" actId="478"/>
          <ac:picMkLst>
            <pc:docMk/>
            <pc:sldMk cId="699144315" sldId="437"/>
            <ac:picMk id="37" creationId="{EDE9524D-3B30-457A-9936-16EB7E5A8834}"/>
          </ac:picMkLst>
        </pc:picChg>
        <pc:picChg chg="mod">
          <ac:chgData name="Gaiye Zhou" userId="57624dc8-72d9-4103-85d2-3bb69491f2d7" providerId="ADAL" clId="{CAF7940B-39B8-445E-984B-99E1A44C3CD7}" dt="2018-07-23T21:52:54.823" v="15032" actId="1076"/>
          <ac:picMkLst>
            <pc:docMk/>
            <pc:sldMk cId="699144315" sldId="437"/>
            <ac:picMk id="39" creationId="{C48BC0F7-C23B-4969-84C7-FE44570E06AB}"/>
          </ac:picMkLst>
        </pc:picChg>
        <pc:picChg chg="mod">
          <ac:chgData name="Gaiye Zhou" userId="57624dc8-72d9-4103-85d2-3bb69491f2d7" providerId="ADAL" clId="{CAF7940B-39B8-445E-984B-99E1A44C3CD7}" dt="2018-07-23T21:52:54.823" v="15032" actId="1076"/>
          <ac:picMkLst>
            <pc:docMk/>
            <pc:sldMk cId="699144315" sldId="437"/>
            <ac:picMk id="44" creationId="{95515E55-7B90-443B-B03D-974FB68F0649}"/>
          </ac:picMkLst>
        </pc:picChg>
      </pc:sldChg>
      <pc:sldChg chg="modSp modNotesTx">
        <pc:chgData name="Gaiye Zhou" userId="57624dc8-72d9-4103-85d2-3bb69491f2d7" providerId="ADAL" clId="{CAF7940B-39B8-445E-984B-99E1A44C3CD7}" dt="2018-08-09T20:12:25.927" v="25409" actId="20577"/>
        <pc:sldMkLst>
          <pc:docMk/>
          <pc:sldMk cId="3492624235" sldId="442"/>
        </pc:sldMkLst>
        <pc:spChg chg="mod">
          <ac:chgData name="Gaiye Zhou" userId="57624dc8-72d9-4103-85d2-3bb69491f2d7" providerId="ADAL" clId="{CAF7940B-39B8-445E-984B-99E1A44C3CD7}" dt="2018-08-09T20:11:03.987" v="25124" actId="20577"/>
          <ac:spMkLst>
            <pc:docMk/>
            <pc:sldMk cId="3492624235" sldId="442"/>
            <ac:spMk id="4" creationId="{DF6CC1F4-E214-43D2-9848-021D22E05AB5}"/>
          </ac:spMkLst>
        </pc:spChg>
      </pc:sldChg>
      <pc:sldChg chg="addSp delSp modSp add">
        <pc:chgData name="Gaiye Zhou" userId="57624dc8-72d9-4103-85d2-3bb69491f2d7" providerId="ADAL" clId="{CAF7940B-39B8-445E-984B-99E1A44C3CD7}" dt="2018-08-31T19:27:44.931" v="25735" actId="20577"/>
        <pc:sldMkLst>
          <pc:docMk/>
          <pc:sldMk cId="202125828" sldId="443"/>
        </pc:sldMkLst>
        <pc:spChg chg="add del mod">
          <ac:chgData name="Gaiye Zhou" userId="57624dc8-72d9-4103-85d2-3bb69491f2d7" providerId="ADAL" clId="{CAF7940B-39B8-445E-984B-99E1A44C3CD7}" dt="2018-07-12T14:29:34.338" v="7326" actId="478"/>
          <ac:spMkLst>
            <pc:docMk/>
            <pc:sldMk cId="202125828" sldId="443"/>
            <ac:spMk id="2" creationId="{06543392-DE35-4B75-988D-EFAF983F7380}"/>
          </ac:spMkLst>
        </pc:spChg>
        <pc:spChg chg="add del mod">
          <ac:chgData name="Gaiye Zhou" userId="57624dc8-72d9-4103-85d2-3bb69491f2d7" providerId="ADAL" clId="{CAF7940B-39B8-445E-984B-99E1A44C3CD7}" dt="2018-07-12T01:27:40.494" v="1686" actId="478"/>
          <ac:spMkLst>
            <pc:docMk/>
            <pc:sldMk cId="202125828" sldId="443"/>
            <ac:spMk id="3" creationId="{4325B328-8AED-4FB3-BB1B-12B3D3B08D07}"/>
          </ac:spMkLst>
        </pc:spChg>
        <pc:spChg chg="add del mod">
          <ac:chgData name="Gaiye Zhou" userId="57624dc8-72d9-4103-85d2-3bb69491f2d7" providerId="ADAL" clId="{CAF7940B-39B8-445E-984B-99E1A44C3CD7}" dt="2018-07-12T18:19:03.027" v="7916" actId="478"/>
          <ac:spMkLst>
            <pc:docMk/>
            <pc:sldMk cId="202125828" sldId="443"/>
            <ac:spMk id="3" creationId="{A1D974FA-A899-4675-A8D9-C809967DEEFB}"/>
          </ac:spMkLst>
        </pc:spChg>
        <pc:spChg chg="mod ord">
          <ac:chgData name="Gaiye Zhou" userId="57624dc8-72d9-4103-85d2-3bb69491f2d7" providerId="ADAL" clId="{CAF7940B-39B8-445E-984B-99E1A44C3CD7}" dt="2018-07-20T22:31:58.091" v="11900" actId="14100"/>
          <ac:spMkLst>
            <pc:docMk/>
            <pc:sldMk cId="202125828" sldId="443"/>
            <ac:spMk id="37" creationId="{0028D65B-0110-4C88-B4C2-C4A5051CC763}"/>
          </ac:spMkLst>
        </pc:spChg>
        <pc:spChg chg="add del mod">
          <ac:chgData name="Gaiye Zhou" userId="57624dc8-72d9-4103-85d2-3bb69491f2d7" providerId="ADAL" clId="{CAF7940B-39B8-445E-984B-99E1A44C3CD7}" dt="2018-07-12T19:11:14.525" v="7931" actId="478"/>
          <ac:spMkLst>
            <pc:docMk/>
            <pc:sldMk cId="202125828" sldId="443"/>
            <ac:spMk id="39" creationId="{4290E9EE-1CAE-4281-88D3-E242A65D6170}"/>
          </ac:spMkLst>
        </pc:spChg>
        <pc:spChg chg="mod">
          <ac:chgData name="Gaiye Zhou" userId="57624dc8-72d9-4103-85d2-3bb69491f2d7" providerId="ADAL" clId="{CAF7940B-39B8-445E-984B-99E1A44C3CD7}" dt="2018-08-31T19:27:41.071" v="25734" actId="20577"/>
          <ac:spMkLst>
            <pc:docMk/>
            <pc:sldMk cId="202125828" sldId="443"/>
            <ac:spMk id="42" creationId="{69B4F822-E375-4552-84A1-EB88458F9564}"/>
          </ac:spMkLst>
        </pc:spChg>
        <pc:spChg chg="mod">
          <ac:chgData name="Gaiye Zhou" userId="57624dc8-72d9-4103-85d2-3bb69491f2d7" providerId="ADAL" clId="{CAF7940B-39B8-445E-984B-99E1A44C3CD7}" dt="2018-08-31T19:27:44.931" v="25735" actId="20577"/>
          <ac:spMkLst>
            <pc:docMk/>
            <pc:sldMk cId="202125828" sldId="443"/>
            <ac:spMk id="45" creationId="{4D35E809-A2B3-4087-AE25-B4A174E11EFA}"/>
          </ac:spMkLst>
        </pc:spChg>
        <pc:spChg chg="mod">
          <ac:chgData name="Gaiye Zhou" userId="57624dc8-72d9-4103-85d2-3bb69491f2d7" providerId="ADAL" clId="{CAF7940B-39B8-445E-984B-99E1A44C3CD7}" dt="2018-07-24T16:08:32.386" v="19740" actId="113"/>
          <ac:spMkLst>
            <pc:docMk/>
            <pc:sldMk cId="202125828" sldId="443"/>
            <ac:spMk id="47" creationId="{C44C20F5-FF5A-41E1-AF0F-11ABC362F14A}"/>
          </ac:spMkLst>
        </pc:spChg>
        <pc:spChg chg="mod">
          <ac:chgData name="Gaiye Zhou" userId="57624dc8-72d9-4103-85d2-3bb69491f2d7" providerId="ADAL" clId="{CAF7940B-39B8-445E-984B-99E1A44C3CD7}" dt="2018-07-20T22:32:14.445" v="11903" actId="14100"/>
          <ac:spMkLst>
            <pc:docMk/>
            <pc:sldMk cId="202125828" sldId="443"/>
            <ac:spMk id="51" creationId="{12107BF8-FF65-49F7-B19C-A80068D273C3}"/>
          </ac:spMkLst>
        </pc:spChg>
        <pc:spChg chg="mod">
          <ac:chgData name="Gaiye Zhou" userId="57624dc8-72d9-4103-85d2-3bb69491f2d7" providerId="ADAL" clId="{CAF7940B-39B8-445E-984B-99E1A44C3CD7}" dt="2018-07-20T22:38:22.087" v="11949" actId="20577"/>
          <ac:spMkLst>
            <pc:docMk/>
            <pc:sldMk cId="202125828" sldId="443"/>
            <ac:spMk id="56" creationId="{512A950B-0CAB-4953-BAD6-91C7E419B3EF}"/>
          </ac:spMkLst>
        </pc:spChg>
        <pc:picChg chg="add del mod">
          <ac:chgData name="Gaiye Zhou" userId="57624dc8-72d9-4103-85d2-3bb69491f2d7" providerId="ADAL" clId="{CAF7940B-39B8-445E-984B-99E1A44C3CD7}" dt="2018-07-12T01:23:03.635" v="1656" actId="478"/>
          <ac:picMkLst>
            <pc:docMk/>
            <pc:sldMk cId="202125828" sldId="443"/>
            <ac:picMk id="2" creationId="{67A16B5A-ED07-4847-A836-6F3339FB949D}"/>
          </ac:picMkLst>
        </pc:picChg>
        <pc:picChg chg="add del mod">
          <ac:chgData name="Gaiye Zhou" userId="57624dc8-72d9-4103-85d2-3bb69491f2d7" providerId="ADAL" clId="{CAF7940B-39B8-445E-984B-99E1A44C3CD7}" dt="2018-07-12T01:23:19.177" v="1659" actId="478"/>
          <ac:picMkLst>
            <pc:docMk/>
            <pc:sldMk cId="202125828" sldId="443"/>
            <ac:picMk id="4" creationId="{EA854443-FD83-4350-B08E-C2BE2E2CBC0B}"/>
          </ac:picMkLst>
        </pc:picChg>
        <pc:picChg chg="add del mod">
          <ac:chgData name="Gaiye Zhou" userId="57624dc8-72d9-4103-85d2-3bb69491f2d7" providerId="ADAL" clId="{CAF7940B-39B8-445E-984B-99E1A44C3CD7}" dt="2018-07-12T01:26:07.196" v="1664" actId="478"/>
          <ac:picMkLst>
            <pc:docMk/>
            <pc:sldMk cId="202125828" sldId="443"/>
            <ac:picMk id="5" creationId="{CCD4D472-EE83-450A-A38E-5EB44169AB86}"/>
          </ac:picMkLst>
        </pc:picChg>
        <pc:picChg chg="add del mod">
          <ac:chgData name="Gaiye Zhou" userId="57624dc8-72d9-4103-85d2-3bb69491f2d7" providerId="ADAL" clId="{CAF7940B-39B8-445E-984B-99E1A44C3CD7}" dt="2018-07-12T01:33:44.691" v="1687" actId="478"/>
          <ac:picMkLst>
            <pc:docMk/>
            <pc:sldMk cId="202125828" sldId="443"/>
            <ac:picMk id="25" creationId="{00BE5E53-A38D-4395-B663-6D5474AD38BF}"/>
          </ac:picMkLst>
        </pc:picChg>
        <pc:picChg chg="add del mod">
          <ac:chgData name="Gaiye Zhou" userId="57624dc8-72d9-4103-85d2-3bb69491f2d7" providerId="ADAL" clId="{CAF7940B-39B8-445E-984B-99E1A44C3CD7}" dt="2018-07-12T01:34:01.575" v="1691" actId="478"/>
          <ac:picMkLst>
            <pc:docMk/>
            <pc:sldMk cId="202125828" sldId="443"/>
            <ac:picMk id="26" creationId="{B7A52E1E-6D13-4C98-87F9-261EC44C825E}"/>
          </ac:picMkLst>
        </pc:picChg>
        <pc:picChg chg="add mod">
          <ac:chgData name="Gaiye Zhou" userId="57624dc8-72d9-4103-85d2-3bb69491f2d7" providerId="ADAL" clId="{CAF7940B-39B8-445E-984B-99E1A44C3CD7}" dt="2018-07-12T01:34:36.356" v="1695" actId="1076"/>
          <ac:picMkLst>
            <pc:docMk/>
            <pc:sldMk cId="202125828" sldId="443"/>
            <ac:picMk id="27" creationId="{731EF21D-87CD-4ABA-99C2-5236C41E0D77}"/>
          </ac:picMkLst>
        </pc:picChg>
        <pc:picChg chg="add del mod">
          <ac:chgData name="Gaiye Zhou" userId="57624dc8-72d9-4103-85d2-3bb69491f2d7" providerId="ADAL" clId="{CAF7940B-39B8-445E-984B-99E1A44C3CD7}" dt="2018-07-12T19:11:14.525" v="7931" actId="478"/>
          <ac:picMkLst>
            <pc:docMk/>
            <pc:sldMk cId="202125828" sldId="443"/>
            <ac:picMk id="38" creationId="{D7FCB36D-70DC-4BD5-8231-C35A9C45199F}"/>
          </ac:picMkLst>
        </pc:picChg>
        <pc:picChg chg="del">
          <ac:chgData name="Gaiye Zhou" userId="57624dc8-72d9-4103-85d2-3bb69491f2d7" providerId="ADAL" clId="{CAF7940B-39B8-445E-984B-99E1A44C3CD7}" dt="2018-07-11T18:29:56.562" v="1270" actId="478"/>
          <ac:picMkLst>
            <pc:docMk/>
            <pc:sldMk cId="202125828" sldId="443"/>
            <ac:picMk id="41" creationId="{9AC6651C-57B8-4A34-95A1-93FE88422211}"/>
          </ac:picMkLst>
        </pc:picChg>
      </pc:sldChg>
      <pc:sldChg chg="modSp ord">
        <pc:chgData name="Gaiye Zhou" userId="57624dc8-72d9-4103-85d2-3bb69491f2d7" providerId="ADAL" clId="{CAF7940B-39B8-445E-984B-99E1A44C3CD7}" dt="2018-07-25T03:58:22.385" v="22358"/>
        <pc:sldMkLst>
          <pc:docMk/>
          <pc:sldMk cId="2612977556" sldId="445"/>
        </pc:sldMkLst>
        <pc:spChg chg="mod">
          <ac:chgData name="Gaiye Zhou" userId="57624dc8-72d9-4103-85d2-3bb69491f2d7" providerId="ADAL" clId="{CAF7940B-39B8-445E-984B-99E1A44C3CD7}" dt="2018-07-12T01:22:43.822" v="1655" actId="20577"/>
          <ac:spMkLst>
            <pc:docMk/>
            <pc:sldMk cId="2612977556" sldId="445"/>
            <ac:spMk id="37" creationId="{1EC0BE6D-FEF7-491F-AB0E-8B9E0DE93206}"/>
          </ac:spMkLst>
        </pc:spChg>
      </pc:sldChg>
      <pc:sldChg chg="modSp">
        <pc:chgData name="Gaiye Zhou" userId="57624dc8-72d9-4103-85d2-3bb69491f2d7" providerId="ADAL" clId="{CAF7940B-39B8-445E-984B-99E1A44C3CD7}" dt="2018-07-12T01:38:14.743" v="1799" actId="1076"/>
        <pc:sldMkLst>
          <pc:docMk/>
          <pc:sldMk cId="323447461" sldId="449"/>
        </pc:sldMkLst>
        <pc:spChg chg="mod">
          <ac:chgData name="Gaiye Zhou" userId="57624dc8-72d9-4103-85d2-3bb69491f2d7" providerId="ADAL" clId="{CAF7940B-39B8-445E-984B-99E1A44C3CD7}" dt="2018-07-12T01:38:05.681" v="1797" actId="255"/>
          <ac:spMkLst>
            <pc:docMk/>
            <pc:sldMk cId="323447461" sldId="449"/>
            <ac:spMk id="26" creationId="{034A1943-95FC-460C-A55E-55A94B93970E}"/>
          </ac:spMkLst>
        </pc:spChg>
        <pc:graphicFrameChg chg="mod modGraphic">
          <ac:chgData name="Gaiye Zhou" userId="57624dc8-72d9-4103-85d2-3bb69491f2d7" providerId="ADAL" clId="{CAF7940B-39B8-445E-984B-99E1A44C3CD7}" dt="2018-07-12T01:38:09.455" v="1798" actId="1076"/>
          <ac:graphicFrameMkLst>
            <pc:docMk/>
            <pc:sldMk cId="323447461" sldId="449"/>
            <ac:graphicFrameMk id="5" creationId="{F1BB3BCF-9A8D-4FD7-9930-FE0475741615}"/>
          </ac:graphicFrameMkLst>
        </pc:graphicFrameChg>
        <pc:picChg chg="mod">
          <ac:chgData name="Gaiye Zhou" userId="57624dc8-72d9-4103-85d2-3bb69491f2d7" providerId="ADAL" clId="{CAF7940B-39B8-445E-984B-99E1A44C3CD7}" dt="2018-07-12T01:38:14.743" v="1799" actId="1076"/>
          <ac:picMkLst>
            <pc:docMk/>
            <pc:sldMk cId="323447461" sldId="449"/>
            <ac:picMk id="3" creationId="{DA8063BF-D536-4BD0-9853-76C830AFCDDE}"/>
          </ac:picMkLst>
        </pc:picChg>
      </pc:sldChg>
      <pc:sldChg chg="modSp">
        <pc:chgData name="Gaiye Zhou" userId="57624dc8-72d9-4103-85d2-3bb69491f2d7" providerId="ADAL" clId="{CAF7940B-39B8-445E-984B-99E1A44C3CD7}" dt="2018-07-23T22:36:28.603" v="15777" actId="2711"/>
        <pc:sldMkLst>
          <pc:docMk/>
          <pc:sldMk cId="4180194822" sldId="450"/>
        </pc:sldMkLst>
        <pc:spChg chg="mod">
          <ac:chgData name="Gaiye Zhou" userId="57624dc8-72d9-4103-85d2-3bb69491f2d7" providerId="ADAL" clId="{CAF7940B-39B8-445E-984B-99E1A44C3CD7}" dt="2018-07-12T01:42:46.050" v="1976" actId="20577"/>
          <ac:spMkLst>
            <pc:docMk/>
            <pc:sldMk cId="4180194822" sldId="450"/>
            <ac:spMk id="6" creationId="{44E5690F-35AB-40A3-AF7A-1F83F8B85A15}"/>
          </ac:spMkLst>
        </pc:spChg>
        <pc:spChg chg="mod">
          <ac:chgData name="Gaiye Zhou" userId="57624dc8-72d9-4103-85d2-3bb69491f2d7" providerId="ADAL" clId="{CAF7940B-39B8-445E-984B-99E1A44C3CD7}" dt="2018-07-23T22:36:28.603" v="15777" actId="2711"/>
          <ac:spMkLst>
            <pc:docMk/>
            <pc:sldMk cId="4180194822" sldId="450"/>
            <ac:spMk id="37" creationId="{1EC0BE6D-FEF7-491F-AB0E-8B9E0DE93206}"/>
          </ac:spMkLst>
        </pc:spChg>
        <pc:graphicFrameChg chg="mod modGraphic">
          <ac:chgData name="Gaiye Zhou" userId="57624dc8-72d9-4103-85d2-3bb69491f2d7" providerId="ADAL" clId="{CAF7940B-39B8-445E-984B-99E1A44C3CD7}" dt="2018-07-20T23:16:23.022" v="12193" actId="20577"/>
          <ac:graphicFrameMkLst>
            <pc:docMk/>
            <pc:sldMk cId="4180194822" sldId="450"/>
            <ac:graphicFrameMk id="38" creationId="{DE1FD390-CD18-44F1-B954-149A725717F9}"/>
          </ac:graphicFrameMkLst>
        </pc:graphicFrameChg>
      </pc:sldChg>
      <pc:sldChg chg="addSp delSp modSp add ord">
        <pc:chgData name="Gaiye Zhou" userId="57624dc8-72d9-4103-85d2-3bb69491f2d7" providerId="ADAL" clId="{CAF7940B-39B8-445E-984B-99E1A44C3CD7}" dt="2018-07-24T16:11:09.089" v="19741" actId="20577"/>
        <pc:sldMkLst>
          <pc:docMk/>
          <pc:sldMk cId="4188737045" sldId="451"/>
        </pc:sldMkLst>
        <pc:spChg chg="mod">
          <ac:chgData name="Gaiye Zhou" userId="57624dc8-72d9-4103-85d2-3bb69491f2d7" providerId="ADAL" clId="{CAF7940B-39B8-445E-984B-99E1A44C3CD7}" dt="2018-07-12T02:23:05.822" v="3641"/>
          <ac:spMkLst>
            <pc:docMk/>
            <pc:sldMk cId="4188737045" sldId="451"/>
            <ac:spMk id="6" creationId="{44E5690F-35AB-40A3-AF7A-1F83F8B85A15}"/>
          </ac:spMkLst>
        </pc:spChg>
        <pc:spChg chg="add del mod">
          <ac:chgData name="Gaiye Zhou" userId="57624dc8-72d9-4103-85d2-3bb69491f2d7" providerId="ADAL" clId="{CAF7940B-39B8-445E-984B-99E1A44C3CD7}" dt="2018-07-17T01:38:48.341" v="10739" actId="478"/>
          <ac:spMkLst>
            <pc:docMk/>
            <pc:sldMk cId="4188737045" sldId="451"/>
            <ac:spMk id="25" creationId="{4031BAAD-5175-4B93-A44D-E05F7B09CF27}"/>
          </ac:spMkLst>
        </pc:spChg>
        <pc:spChg chg="add mod">
          <ac:chgData name="Gaiye Zhou" userId="57624dc8-72d9-4103-85d2-3bb69491f2d7" providerId="ADAL" clId="{CAF7940B-39B8-445E-984B-99E1A44C3CD7}" dt="2018-07-17T01:40:58.948" v="10766" actId="20577"/>
          <ac:spMkLst>
            <pc:docMk/>
            <pc:sldMk cId="4188737045" sldId="451"/>
            <ac:spMk id="26" creationId="{F08B602B-A0F6-4216-BE9F-20DCC7413C15}"/>
          </ac:spMkLst>
        </pc:spChg>
        <pc:spChg chg="add mod">
          <ac:chgData name="Gaiye Zhou" userId="57624dc8-72d9-4103-85d2-3bb69491f2d7" providerId="ADAL" clId="{CAF7940B-39B8-445E-984B-99E1A44C3CD7}" dt="2018-07-17T01:41:10.571" v="10767" actId="20577"/>
          <ac:spMkLst>
            <pc:docMk/>
            <pc:sldMk cId="4188737045" sldId="451"/>
            <ac:spMk id="27" creationId="{55776B79-14BB-4E07-8369-EE0D5C67DA0B}"/>
          </ac:spMkLst>
        </pc:spChg>
        <pc:spChg chg="add mod">
          <ac:chgData name="Gaiye Zhou" userId="57624dc8-72d9-4103-85d2-3bb69491f2d7" providerId="ADAL" clId="{CAF7940B-39B8-445E-984B-99E1A44C3CD7}" dt="2018-07-17T01:40:01.058" v="10755" actId="20577"/>
          <ac:spMkLst>
            <pc:docMk/>
            <pc:sldMk cId="4188737045" sldId="451"/>
            <ac:spMk id="30" creationId="{DAC49F4D-960D-47B5-80F1-77BC7599863B}"/>
          </ac:spMkLst>
        </pc:spChg>
        <pc:spChg chg="del mod">
          <ac:chgData name="Gaiye Zhou" userId="57624dc8-72d9-4103-85d2-3bb69491f2d7" providerId="ADAL" clId="{CAF7940B-39B8-445E-984B-99E1A44C3CD7}" dt="2018-07-12T02:27:51.261" v="3801" actId="478"/>
          <ac:spMkLst>
            <pc:docMk/>
            <pc:sldMk cId="4188737045" sldId="451"/>
            <ac:spMk id="37" creationId="{1EC0BE6D-FEF7-491F-AB0E-8B9E0DE93206}"/>
          </ac:spMkLst>
        </pc:spChg>
        <pc:graphicFrameChg chg="add del mod modGraphic">
          <ac:chgData name="Gaiye Zhou" userId="57624dc8-72d9-4103-85d2-3bb69491f2d7" providerId="ADAL" clId="{CAF7940B-39B8-445E-984B-99E1A44C3CD7}" dt="2018-07-12T02:35:30.457" v="4124" actId="478"/>
          <ac:graphicFrameMkLst>
            <pc:docMk/>
            <pc:sldMk cId="4188737045" sldId="451"/>
            <ac:graphicFrameMk id="28" creationId="{729C8BE7-6449-45AC-B3B6-E8FC48F29ACC}"/>
          </ac:graphicFrameMkLst>
        </pc:graphicFrameChg>
        <pc:graphicFrameChg chg="add mod modGraphic">
          <ac:chgData name="Gaiye Zhou" userId="57624dc8-72d9-4103-85d2-3bb69491f2d7" providerId="ADAL" clId="{CAF7940B-39B8-445E-984B-99E1A44C3CD7}" dt="2018-07-24T16:11:09.089" v="19741" actId="20577"/>
          <ac:graphicFrameMkLst>
            <pc:docMk/>
            <pc:sldMk cId="4188737045" sldId="451"/>
            <ac:graphicFrameMk id="29" creationId="{9FE66872-7763-480C-83FF-D4F4C850835A}"/>
          </ac:graphicFrameMkLst>
        </pc:graphicFrameChg>
        <pc:graphicFrameChg chg="mod modGraphic">
          <ac:chgData name="Gaiye Zhou" userId="57624dc8-72d9-4103-85d2-3bb69491f2d7" providerId="ADAL" clId="{CAF7940B-39B8-445E-984B-99E1A44C3CD7}" dt="2018-07-17T01:39:00.909" v="10740" actId="1076"/>
          <ac:graphicFrameMkLst>
            <pc:docMk/>
            <pc:sldMk cId="4188737045" sldId="451"/>
            <ac:graphicFrameMk id="38" creationId="{DE1FD390-CD18-44F1-B954-149A725717F9}"/>
          </ac:graphicFrameMkLst>
        </pc:graphicFrameChg>
      </pc:sldChg>
      <pc:sldChg chg="addSp delSp modSp add ord">
        <pc:chgData name="Gaiye Zhou" userId="57624dc8-72d9-4103-85d2-3bb69491f2d7" providerId="ADAL" clId="{CAF7940B-39B8-445E-984B-99E1A44C3CD7}" dt="2018-07-31T18:38:31.205" v="23904" actId="1035"/>
        <pc:sldMkLst>
          <pc:docMk/>
          <pc:sldMk cId="975331303" sldId="452"/>
        </pc:sldMkLst>
        <pc:spChg chg="add mod">
          <ac:chgData name="Gaiye Zhou" userId="57624dc8-72d9-4103-85d2-3bb69491f2d7" providerId="ADAL" clId="{CAF7940B-39B8-445E-984B-99E1A44C3CD7}" dt="2018-07-23T22:37:38.963" v="15781" actId="207"/>
          <ac:spMkLst>
            <pc:docMk/>
            <pc:sldMk cId="975331303" sldId="452"/>
            <ac:spMk id="2" creationId="{73519882-B7B5-4F43-B3C4-7B1BE2B7B013}"/>
          </ac:spMkLst>
        </pc:spChg>
        <pc:spChg chg="mod">
          <ac:chgData name="Gaiye Zhou" userId="57624dc8-72d9-4103-85d2-3bb69491f2d7" providerId="ADAL" clId="{CAF7940B-39B8-445E-984B-99E1A44C3CD7}" dt="2018-07-12T02:42:13.445" v="4403" actId="20577"/>
          <ac:spMkLst>
            <pc:docMk/>
            <pc:sldMk cId="975331303" sldId="452"/>
            <ac:spMk id="6" creationId="{44E5690F-35AB-40A3-AF7A-1F83F8B85A15}"/>
          </ac:spMkLst>
        </pc:spChg>
        <pc:spChg chg="add mod">
          <ac:chgData name="Gaiye Zhou" userId="57624dc8-72d9-4103-85d2-3bb69491f2d7" providerId="ADAL" clId="{CAF7940B-39B8-445E-984B-99E1A44C3CD7}" dt="2018-07-12T02:59:24.822" v="5043" actId="1036"/>
          <ac:spMkLst>
            <pc:docMk/>
            <pc:sldMk cId="975331303" sldId="452"/>
            <ac:spMk id="37" creationId="{BB810C99-730C-4096-8914-CB8FA1D09CD8}"/>
          </ac:spMkLst>
        </pc:spChg>
        <pc:spChg chg="add mod">
          <ac:chgData name="Gaiye Zhou" userId="57624dc8-72d9-4103-85d2-3bb69491f2d7" providerId="ADAL" clId="{CAF7940B-39B8-445E-984B-99E1A44C3CD7}" dt="2018-07-12T14:09:27.564" v="6503" actId="1076"/>
          <ac:spMkLst>
            <pc:docMk/>
            <pc:sldMk cId="975331303" sldId="452"/>
            <ac:spMk id="38" creationId="{956B25CD-D873-4019-BFBF-E4BDD9D9608A}"/>
          </ac:spMkLst>
        </pc:spChg>
        <pc:spChg chg="add del mod">
          <ac:chgData name="Gaiye Zhou" userId="57624dc8-72d9-4103-85d2-3bb69491f2d7" providerId="ADAL" clId="{CAF7940B-39B8-445E-984B-99E1A44C3CD7}" dt="2018-07-12T02:52:12.956" v="4846" actId="478"/>
          <ac:spMkLst>
            <pc:docMk/>
            <pc:sldMk cId="975331303" sldId="452"/>
            <ac:spMk id="40" creationId="{21B36C16-1A17-46EA-815A-6D853E162171}"/>
          </ac:spMkLst>
        </pc:spChg>
        <pc:spChg chg="add del mod">
          <ac:chgData name="Gaiye Zhou" userId="57624dc8-72d9-4103-85d2-3bb69491f2d7" providerId="ADAL" clId="{CAF7940B-39B8-445E-984B-99E1A44C3CD7}" dt="2018-07-12T19:15:23.077" v="7936" actId="478"/>
          <ac:spMkLst>
            <pc:docMk/>
            <pc:sldMk cId="975331303" sldId="452"/>
            <ac:spMk id="40" creationId="{BA1E6EA6-586A-4877-BBBC-225A5598B8B3}"/>
          </ac:spMkLst>
        </pc:spChg>
        <pc:spChg chg="del mod">
          <ac:chgData name="Gaiye Zhou" userId="57624dc8-72d9-4103-85d2-3bb69491f2d7" providerId="ADAL" clId="{CAF7940B-39B8-445E-984B-99E1A44C3CD7}" dt="2018-07-12T02:45:29.560" v="4583" actId="478"/>
          <ac:spMkLst>
            <pc:docMk/>
            <pc:sldMk cId="975331303" sldId="452"/>
            <ac:spMk id="42" creationId="{A9966834-0909-4B67-AA5A-6BF40F8C5134}"/>
          </ac:spMkLst>
        </pc:spChg>
        <pc:spChg chg="mod">
          <ac:chgData name="Gaiye Zhou" userId="57624dc8-72d9-4103-85d2-3bb69491f2d7" providerId="ADAL" clId="{CAF7940B-39B8-445E-984B-99E1A44C3CD7}" dt="2018-07-12T02:59:24.822" v="5043" actId="1036"/>
          <ac:spMkLst>
            <pc:docMk/>
            <pc:sldMk cId="975331303" sldId="452"/>
            <ac:spMk id="43" creationId="{90C7423A-548D-46E6-97EC-7184044803B3}"/>
          </ac:spMkLst>
        </pc:spChg>
        <pc:spChg chg="mod">
          <ac:chgData name="Gaiye Zhou" userId="57624dc8-72d9-4103-85d2-3bb69491f2d7" providerId="ADAL" clId="{CAF7940B-39B8-445E-984B-99E1A44C3CD7}" dt="2018-07-12T19:15:35.224" v="7937" actId="14100"/>
          <ac:spMkLst>
            <pc:docMk/>
            <pc:sldMk cId="975331303" sldId="452"/>
            <ac:spMk id="44" creationId="{0BEB5591-23BF-4002-B117-490FA8FFD341}"/>
          </ac:spMkLst>
        </pc:spChg>
        <pc:spChg chg="del mod">
          <ac:chgData name="Gaiye Zhou" userId="57624dc8-72d9-4103-85d2-3bb69491f2d7" providerId="ADAL" clId="{CAF7940B-39B8-445E-984B-99E1A44C3CD7}" dt="2018-07-12T02:44:49.240" v="4554" actId="478"/>
          <ac:spMkLst>
            <pc:docMk/>
            <pc:sldMk cId="975331303" sldId="452"/>
            <ac:spMk id="45" creationId="{4D35E809-A2B3-4087-AE25-B4A174E11EFA}"/>
          </ac:spMkLst>
        </pc:spChg>
        <pc:spChg chg="add mod">
          <ac:chgData name="Gaiye Zhou" userId="57624dc8-72d9-4103-85d2-3bb69491f2d7" providerId="ADAL" clId="{CAF7940B-39B8-445E-984B-99E1A44C3CD7}" dt="2018-07-12T19:17:03.422" v="7979" actId="1076"/>
          <ac:spMkLst>
            <pc:docMk/>
            <pc:sldMk cId="975331303" sldId="452"/>
            <ac:spMk id="45" creationId="{F6F1ED79-5914-4F7D-B71E-3000D68FC5D3}"/>
          </ac:spMkLst>
        </pc:spChg>
        <pc:spChg chg="add del mod">
          <ac:chgData name="Gaiye Zhou" userId="57624dc8-72d9-4103-85d2-3bb69491f2d7" providerId="ADAL" clId="{CAF7940B-39B8-445E-984B-99E1A44C3CD7}" dt="2018-07-12T19:16:50.485" v="7974" actId="478"/>
          <ac:spMkLst>
            <pc:docMk/>
            <pc:sldMk cId="975331303" sldId="452"/>
            <ac:spMk id="46" creationId="{C8FA3FE7-FD95-4AAA-B300-7C777CB76E54}"/>
          </ac:spMkLst>
        </pc:spChg>
        <pc:spChg chg="mod">
          <ac:chgData name="Gaiye Zhou" userId="57624dc8-72d9-4103-85d2-3bb69491f2d7" providerId="ADAL" clId="{CAF7940B-39B8-445E-984B-99E1A44C3CD7}" dt="2018-07-31T18:37:56.867" v="23900" actId="20577"/>
          <ac:spMkLst>
            <pc:docMk/>
            <pc:sldMk cId="975331303" sldId="452"/>
            <ac:spMk id="47" creationId="{ECEB5888-BF06-45F1-A641-F3FAD25931CA}"/>
          </ac:spMkLst>
        </pc:spChg>
        <pc:spChg chg="mod">
          <ac:chgData name="Gaiye Zhou" userId="57624dc8-72d9-4103-85d2-3bb69491f2d7" providerId="ADAL" clId="{CAF7940B-39B8-445E-984B-99E1A44C3CD7}" dt="2018-07-20T22:28:34.217" v="11860" actId="1035"/>
          <ac:spMkLst>
            <pc:docMk/>
            <pc:sldMk cId="975331303" sldId="452"/>
            <ac:spMk id="48" creationId="{F8931341-474A-4AC5-B291-B72C7C4C1AE3}"/>
          </ac:spMkLst>
        </pc:spChg>
        <pc:spChg chg="mod">
          <ac:chgData name="Gaiye Zhou" userId="57624dc8-72d9-4103-85d2-3bb69491f2d7" providerId="ADAL" clId="{CAF7940B-39B8-445E-984B-99E1A44C3CD7}" dt="2018-07-20T22:28:34.217" v="11860" actId="1035"/>
          <ac:spMkLst>
            <pc:docMk/>
            <pc:sldMk cId="975331303" sldId="452"/>
            <ac:spMk id="49" creationId="{6970E612-3F9A-4EEE-A38A-CA185EEFCC19}"/>
          </ac:spMkLst>
        </pc:spChg>
        <pc:spChg chg="mod">
          <ac:chgData name="Gaiye Zhou" userId="57624dc8-72d9-4103-85d2-3bb69491f2d7" providerId="ADAL" clId="{CAF7940B-39B8-445E-984B-99E1A44C3CD7}" dt="2018-07-20T22:28:34.217" v="11860" actId="1035"/>
          <ac:spMkLst>
            <pc:docMk/>
            <pc:sldMk cId="975331303" sldId="452"/>
            <ac:spMk id="50" creationId="{1B799E34-DBA1-44C9-89AA-E69A77924CD9}"/>
          </ac:spMkLst>
        </pc:spChg>
        <pc:spChg chg="add del mod">
          <ac:chgData name="Gaiye Zhou" userId="57624dc8-72d9-4103-85d2-3bb69491f2d7" providerId="ADAL" clId="{CAF7940B-39B8-445E-984B-99E1A44C3CD7}" dt="2018-07-12T19:16:59.144" v="7977" actId="478"/>
          <ac:spMkLst>
            <pc:docMk/>
            <pc:sldMk cId="975331303" sldId="452"/>
            <ac:spMk id="51" creationId="{E593E160-80A2-459A-977F-13C3A6743B60}"/>
          </ac:spMkLst>
        </pc:spChg>
        <pc:spChg chg="del mod">
          <ac:chgData name="Gaiye Zhou" userId="57624dc8-72d9-4103-85d2-3bb69491f2d7" providerId="ADAL" clId="{CAF7940B-39B8-445E-984B-99E1A44C3CD7}" dt="2018-07-12T19:16:51.917" v="7975" actId="478"/>
          <ac:spMkLst>
            <pc:docMk/>
            <pc:sldMk cId="975331303" sldId="452"/>
            <ac:spMk id="52" creationId="{F051F300-EC17-4889-A0ED-300D475178C0}"/>
          </ac:spMkLst>
        </pc:spChg>
        <pc:spChg chg="mod">
          <ac:chgData name="Gaiye Zhou" userId="57624dc8-72d9-4103-85d2-3bb69491f2d7" providerId="ADAL" clId="{CAF7940B-39B8-445E-984B-99E1A44C3CD7}" dt="2018-07-12T14:10:11.163" v="6508" actId="1076"/>
          <ac:spMkLst>
            <pc:docMk/>
            <pc:sldMk cId="975331303" sldId="452"/>
            <ac:spMk id="63" creationId="{0DA5FA7C-907D-45BD-A2AD-B59B204E74FD}"/>
          </ac:spMkLst>
        </pc:spChg>
        <pc:picChg chg="mod">
          <ac:chgData name="Gaiye Zhou" userId="57624dc8-72d9-4103-85d2-3bb69491f2d7" providerId="ADAL" clId="{CAF7940B-39B8-445E-984B-99E1A44C3CD7}" dt="2018-07-12T02:59:24.822" v="5043" actId="1036"/>
          <ac:picMkLst>
            <pc:docMk/>
            <pc:sldMk cId="975331303" sldId="452"/>
            <ac:picMk id="3" creationId="{AC6CFB22-B3C8-4431-918E-62B96768BCE4}"/>
          </ac:picMkLst>
        </pc:picChg>
        <pc:picChg chg="mod">
          <ac:chgData name="Gaiye Zhou" userId="57624dc8-72d9-4103-85d2-3bb69491f2d7" providerId="ADAL" clId="{CAF7940B-39B8-445E-984B-99E1A44C3CD7}" dt="2018-07-20T22:28:34.217" v="11860" actId="1035"/>
          <ac:picMkLst>
            <pc:docMk/>
            <pc:sldMk cId="975331303" sldId="452"/>
            <ac:picMk id="4" creationId="{F5B2A836-2253-4C3B-9DC7-C0707B464150}"/>
          </ac:picMkLst>
        </pc:picChg>
        <pc:picChg chg="mod">
          <ac:chgData name="Gaiye Zhou" userId="57624dc8-72d9-4103-85d2-3bb69491f2d7" providerId="ADAL" clId="{CAF7940B-39B8-445E-984B-99E1A44C3CD7}" dt="2018-07-12T02:59:24.822" v="5043" actId="1036"/>
          <ac:picMkLst>
            <pc:docMk/>
            <pc:sldMk cId="975331303" sldId="452"/>
            <ac:picMk id="34" creationId="{B98E4F8E-1575-46D5-88A8-A202CA3D224B}"/>
          </ac:picMkLst>
        </pc:picChg>
        <pc:picChg chg="add mod">
          <ac:chgData name="Gaiye Zhou" userId="57624dc8-72d9-4103-85d2-3bb69491f2d7" providerId="ADAL" clId="{CAF7940B-39B8-445E-984B-99E1A44C3CD7}" dt="2018-07-12T19:17:11.415" v="7983" actId="1076"/>
          <ac:picMkLst>
            <pc:docMk/>
            <pc:sldMk cId="975331303" sldId="452"/>
            <ac:picMk id="36" creationId="{877915AC-1AC1-4DA2-9F09-50B585F4BDF0}"/>
          </ac:picMkLst>
        </pc:picChg>
        <pc:picChg chg="add mod">
          <ac:chgData name="Gaiye Zhou" userId="57624dc8-72d9-4103-85d2-3bb69491f2d7" providerId="ADAL" clId="{CAF7940B-39B8-445E-984B-99E1A44C3CD7}" dt="2018-07-31T18:38:31.205" v="23904" actId="1035"/>
          <ac:picMkLst>
            <pc:docMk/>
            <pc:sldMk cId="975331303" sldId="452"/>
            <ac:picMk id="39" creationId="{B7D44D19-3C48-41D8-8071-E7AA8197144A}"/>
          </ac:picMkLst>
        </pc:picChg>
        <pc:picChg chg="del mod">
          <ac:chgData name="Gaiye Zhou" userId="57624dc8-72d9-4103-85d2-3bb69491f2d7" providerId="ADAL" clId="{CAF7940B-39B8-445E-984B-99E1A44C3CD7}" dt="2018-07-12T19:16:49.228" v="7973" actId="478"/>
          <ac:picMkLst>
            <pc:docMk/>
            <pc:sldMk cId="975331303" sldId="452"/>
            <ac:picMk id="41" creationId="{82AD5605-C6B0-44B2-9FB3-E96E7C8A9AE8}"/>
          </ac:picMkLst>
        </pc:picChg>
        <pc:picChg chg="add del">
          <ac:chgData name="Gaiye Zhou" userId="57624dc8-72d9-4103-85d2-3bb69491f2d7" providerId="ADAL" clId="{CAF7940B-39B8-445E-984B-99E1A44C3CD7}" dt="2018-07-12T19:15:21.509" v="7935" actId="478"/>
          <ac:picMkLst>
            <pc:docMk/>
            <pc:sldMk cId="975331303" sldId="452"/>
            <ac:picMk id="42" creationId="{95F62AA5-5EFF-408D-B576-5A6A9022C9FF}"/>
          </ac:picMkLst>
        </pc:picChg>
        <pc:picChg chg="mod">
          <ac:chgData name="Gaiye Zhou" userId="57624dc8-72d9-4103-85d2-3bb69491f2d7" providerId="ADAL" clId="{CAF7940B-39B8-445E-984B-99E1A44C3CD7}" dt="2018-07-12T02:59:24.822" v="5043" actId="1036"/>
          <ac:picMkLst>
            <pc:docMk/>
            <pc:sldMk cId="975331303" sldId="452"/>
            <ac:picMk id="56" creationId="{1E5B1199-FD1E-4299-9F90-EB1E45412F9F}"/>
          </ac:picMkLst>
        </pc:picChg>
      </pc:sldChg>
      <pc:sldChg chg="addSp modSp">
        <pc:chgData name="Gaiye Zhou" userId="57624dc8-72d9-4103-85d2-3bb69491f2d7" providerId="ADAL" clId="{CAF7940B-39B8-445E-984B-99E1A44C3CD7}" dt="2018-07-20T23:23:26.307" v="12371" actId="20577"/>
        <pc:sldMkLst>
          <pc:docMk/>
          <pc:sldMk cId="2253207452" sldId="453"/>
        </pc:sldMkLst>
        <pc:spChg chg="mod">
          <ac:chgData name="Gaiye Zhou" userId="57624dc8-72d9-4103-85d2-3bb69491f2d7" providerId="ADAL" clId="{CAF7940B-39B8-445E-984B-99E1A44C3CD7}" dt="2018-07-12T21:49:30.293" v="9897" actId="20577"/>
          <ac:spMkLst>
            <pc:docMk/>
            <pc:sldMk cId="2253207452" sldId="453"/>
            <ac:spMk id="26" creationId="{034A1943-95FC-460C-A55E-55A94B93970E}"/>
          </ac:spMkLst>
        </pc:spChg>
        <pc:spChg chg="add mod">
          <ac:chgData name="Gaiye Zhou" userId="57624dc8-72d9-4103-85d2-3bb69491f2d7" providerId="ADAL" clId="{CAF7940B-39B8-445E-984B-99E1A44C3CD7}" dt="2018-07-13T16:40:03.512" v="10688" actId="14100"/>
          <ac:spMkLst>
            <pc:docMk/>
            <pc:sldMk cId="2253207452" sldId="453"/>
            <ac:spMk id="27" creationId="{264CDF0F-2D17-425F-8607-4B19F4825355}"/>
          </ac:spMkLst>
        </pc:spChg>
        <pc:spChg chg="add mod">
          <ac:chgData name="Gaiye Zhou" userId="57624dc8-72d9-4103-85d2-3bb69491f2d7" providerId="ADAL" clId="{CAF7940B-39B8-445E-984B-99E1A44C3CD7}" dt="2018-07-20T23:23:26.307" v="12371" actId="20577"/>
          <ac:spMkLst>
            <pc:docMk/>
            <pc:sldMk cId="2253207452" sldId="453"/>
            <ac:spMk id="28" creationId="{A59E8A4C-E019-46A4-8FCF-A75356B73578}"/>
          </ac:spMkLst>
        </pc:spChg>
        <pc:graphicFrameChg chg="mod modGraphic">
          <ac:chgData name="Gaiye Zhou" userId="57624dc8-72d9-4103-85d2-3bb69491f2d7" providerId="ADAL" clId="{CAF7940B-39B8-445E-984B-99E1A44C3CD7}" dt="2018-07-20T23:21:32.303" v="12239" actId="207"/>
          <ac:graphicFrameMkLst>
            <pc:docMk/>
            <pc:sldMk cId="2253207452" sldId="453"/>
            <ac:graphicFrameMk id="5" creationId="{F1BB3BCF-9A8D-4FD7-9930-FE0475741615}"/>
          </ac:graphicFrameMkLst>
        </pc:graphicFrameChg>
        <pc:picChg chg="add mod">
          <ac:chgData name="Gaiye Zhou" userId="57624dc8-72d9-4103-85d2-3bb69491f2d7" providerId="ADAL" clId="{CAF7940B-39B8-445E-984B-99E1A44C3CD7}" dt="2018-07-12T22:07:14.506" v="10479" actId="1076"/>
          <ac:picMkLst>
            <pc:docMk/>
            <pc:sldMk cId="2253207452" sldId="453"/>
            <ac:picMk id="4" creationId="{FA065026-4D63-4F30-91BD-D3D4C8BC01B3}"/>
          </ac:picMkLst>
        </pc:picChg>
      </pc:sldChg>
      <pc:sldChg chg="addSp modSp">
        <pc:chgData name="Gaiye Zhou" userId="57624dc8-72d9-4103-85d2-3bb69491f2d7" providerId="ADAL" clId="{CAF7940B-39B8-445E-984B-99E1A44C3CD7}" dt="2018-07-31T18:36:59.455" v="23854" actId="20577"/>
        <pc:sldMkLst>
          <pc:docMk/>
          <pc:sldMk cId="2683598569" sldId="454"/>
        </pc:sldMkLst>
        <pc:spChg chg="mod">
          <ac:chgData name="Gaiye Zhou" userId="57624dc8-72d9-4103-85d2-3bb69491f2d7" providerId="ADAL" clId="{CAF7940B-39B8-445E-984B-99E1A44C3CD7}" dt="2018-07-31T18:35:15.290" v="23799" actId="1076"/>
          <ac:spMkLst>
            <pc:docMk/>
            <pc:sldMk cId="2683598569" sldId="454"/>
            <ac:spMk id="2" creationId="{4B2E2BBE-F2E9-4AB2-B687-07F4932DB756}"/>
          </ac:spMkLst>
        </pc:spChg>
        <pc:spChg chg="add mod">
          <ac:chgData name="Gaiye Zhou" userId="57624dc8-72d9-4103-85d2-3bb69491f2d7" providerId="ADAL" clId="{CAF7940B-39B8-445E-984B-99E1A44C3CD7}" dt="2018-07-31T18:36:59.455" v="23854" actId="20577"/>
          <ac:spMkLst>
            <pc:docMk/>
            <pc:sldMk cId="2683598569" sldId="454"/>
            <ac:spMk id="30" creationId="{29032E11-304C-41DE-A7A9-F355DE9D2E52}"/>
          </ac:spMkLst>
        </pc:spChg>
        <pc:spChg chg="mod">
          <ac:chgData name="Gaiye Zhou" userId="57624dc8-72d9-4103-85d2-3bb69491f2d7" providerId="ADAL" clId="{CAF7940B-39B8-445E-984B-99E1A44C3CD7}" dt="2018-07-24T16:11:30.911" v="19742" actId="207"/>
          <ac:spMkLst>
            <pc:docMk/>
            <pc:sldMk cId="2683598569" sldId="454"/>
            <ac:spMk id="31" creationId="{B7206E51-9398-4535-A104-6B46A105AD57}"/>
          </ac:spMkLst>
        </pc:spChg>
        <pc:spChg chg="mod">
          <ac:chgData name="Gaiye Zhou" userId="57624dc8-72d9-4103-85d2-3bb69491f2d7" providerId="ADAL" clId="{CAF7940B-39B8-445E-984B-99E1A44C3CD7}" dt="2018-07-31T18:35:15.290" v="23799" actId="1076"/>
          <ac:spMkLst>
            <pc:docMk/>
            <pc:sldMk cId="2683598569" sldId="454"/>
            <ac:spMk id="32" creationId="{8BC82733-9F0C-49D7-89A9-93743D11C873}"/>
          </ac:spMkLst>
        </pc:spChg>
        <pc:spChg chg="mod">
          <ac:chgData name="Gaiye Zhou" userId="57624dc8-72d9-4103-85d2-3bb69491f2d7" providerId="ADAL" clId="{CAF7940B-39B8-445E-984B-99E1A44C3CD7}" dt="2018-07-31T18:35:15.290" v="23799" actId="1076"/>
          <ac:spMkLst>
            <pc:docMk/>
            <pc:sldMk cId="2683598569" sldId="454"/>
            <ac:spMk id="34" creationId="{3A0A0096-D47D-4825-9B16-9D8CC7BE5AFF}"/>
          </ac:spMkLst>
        </pc:spChg>
        <pc:spChg chg="mod">
          <ac:chgData name="Gaiye Zhou" userId="57624dc8-72d9-4103-85d2-3bb69491f2d7" providerId="ADAL" clId="{CAF7940B-39B8-445E-984B-99E1A44C3CD7}" dt="2018-07-31T18:35:15.290" v="23799" actId="1076"/>
          <ac:spMkLst>
            <pc:docMk/>
            <pc:sldMk cId="2683598569" sldId="454"/>
            <ac:spMk id="35" creationId="{3C1CAAFC-228F-46EC-B08F-ADDB8E13036F}"/>
          </ac:spMkLst>
        </pc:spChg>
        <pc:spChg chg="mod">
          <ac:chgData name="Gaiye Zhou" userId="57624dc8-72d9-4103-85d2-3bb69491f2d7" providerId="ADAL" clId="{CAF7940B-39B8-445E-984B-99E1A44C3CD7}" dt="2018-07-31T18:35:15.290" v="23799" actId="1076"/>
          <ac:spMkLst>
            <pc:docMk/>
            <pc:sldMk cId="2683598569" sldId="454"/>
            <ac:spMk id="37" creationId="{82B52BFC-9DDC-4955-AE75-87199A52C2EA}"/>
          </ac:spMkLst>
        </pc:spChg>
        <pc:picChg chg="mod">
          <ac:chgData name="Gaiye Zhou" userId="57624dc8-72d9-4103-85d2-3bb69491f2d7" providerId="ADAL" clId="{CAF7940B-39B8-445E-984B-99E1A44C3CD7}" dt="2018-07-31T18:35:15.290" v="23799" actId="1076"/>
          <ac:picMkLst>
            <pc:docMk/>
            <pc:sldMk cId="2683598569" sldId="454"/>
            <ac:picMk id="3" creationId="{A4213910-D3F1-49CC-8F4D-5E835C5B3091}"/>
          </ac:picMkLst>
        </pc:picChg>
        <pc:picChg chg="mod">
          <ac:chgData name="Gaiye Zhou" userId="57624dc8-72d9-4103-85d2-3bb69491f2d7" providerId="ADAL" clId="{CAF7940B-39B8-445E-984B-99E1A44C3CD7}" dt="2018-07-31T18:35:15.290" v="23799" actId="1076"/>
          <ac:picMkLst>
            <pc:docMk/>
            <pc:sldMk cId="2683598569" sldId="454"/>
            <ac:picMk id="4" creationId="{FE5C1DD4-CC7E-4E60-AD66-CD88D99404A3}"/>
          </ac:picMkLst>
        </pc:picChg>
      </pc:sldChg>
      <pc:sldChg chg="modSp">
        <pc:chgData name="Gaiye Zhou" userId="57624dc8-72d9-4103-85d2-3bb69491f2d7" providerId="ADAL" clId="{CAF7940B-39B8-445E-984B-99E1A44C3CD7}" dt="2018-07-24T14:39:02.911" v="18166" actId="20577"/>
        <pc:sldMkLst>
          <pc:docMk/>
          <pc:sldMk cId="3579175339" sldId="455"/>
        </pc:sldMkLst>
        <pc:spChg chg="mod">
          <ac:chgData name="Gaiye Zhou" userId="57624dc8-72d9-4103-85d2-3bb69491f2d7" providerId="ADAL" clId="{CAF7940B-39B8-445E-984B-99E1A44C3CD7}" dt="2018-07-24T14:39:02.911" v="18166" actId="20577"/>
          <ac:spMkLst>
            <pc:docMk/>
            <pc:sldMk cId="3579175339" sldId="455"/>
            <ac:spMk id="9" creationId="{93DE1C76-EA16-4CE4-A203-F7C17752EF4C}"/>
          </ac:spMkLst>
        </pc:spChg>
      </pc:sldChg>
      <pc:sldChg chg="modSp">
        <pc:chgData name="Gaiye Zhou" userId="57624dc8-72d9-4103-85d2-3bb69491f2d7" providerId="ADAL" clId="{CAF7940B-39B8-445E-984B-99E1A44C3CD7}" dt="2018-07-23T22:34:43.088" v="15771" actId="2711"/>
        <pc:sldMkLst>
          <pc:docMk/>
          <pc:sldMk cId="399961941" sldId="456"/>
        </pc:sldMkLst>
        <pc:spChg chg="mod">
          <ac:chgData name="Gaiye Zhou" userId="57624dc8-72d9-4103-85d2-3bb69491f2d7" providerId="ADAL" clId="{CAF7940B-39B8-445E-984B-99E1A44C3CD7}" dt="2018-07-23T22:34:43.088" v="15771" actId="2711"/>
          <ac:spMkLst>
            <pc:docMk/>
            <pc:sldMk cId="399961941" sldId="456"/>
            <ac:spMk id="9" creationId="{93DE1C76-EA16-4CE4-A203-F7C17752EF4C}"/>
          </ac:spMkLst>
        </pc:spChg>
      </pc:sldChg>
      <pc:sldChg chg="modSp">
        <pc:chgData name="Gaiye Zhou" userId="57624dc8-72d9-4103-85d2-3bb69491f2d7" providerId="ADAL" clId="{CAF7940B-39B8-445E-984B-99E1A44C3CD7}" dt="2018-07-24T14:00:27.939" v="18132" actId="1076"/>
        <pc:sldMkLst>
          <pc:docMk/>
          <pc:sldMk cId="2801252256" sldId="461"/>
        </pc:sldMkLst>
        <pc:spChg chg="mod">
          <ac:chgData name="Gaiye Zhou" userId="57624dc8-72d9-4103-85d2-3bb69491f2d7" providerId="ADAL" clId="{CAF7940B-39B8-445E-984B-99E1A44C3CD7}" dt="2018-07-24T14:00:22.972" v="18131" actId="14100"/>
          <ac:spMkLst>
            <pc:docMk/>
            <pc:sldMk cId="2801252256" sldId="461"/>
            <ac:spMk id="4" creationId="{8973E782-393A-46BB-8B95-A1FDFE7F17EF}"/>
          </ac:spMkLst>
        </pc:spChg>
        <pc:picChg chg="mod">
          <ac:chgData name="Gaiye Zhou" userId="57624dc8-72d9-4103-85d2-3bb69491f2d7" providerId="ADAL" clId="{CAF7940B-39B8-445E-984B-99E1A44C3CD7}" dt="2018-07-24T14:00:27.939" v="18132" actId="1076"/>
          <ac:picMkLst>
            <pc:docMk/>
            <pc:sldMk cId="2801252256" sldId="461"/>
            <ac:picMk id="3" creationId="{CE0404D2-46BE-4E9D-A15A-4C3F39D94568}"/>
          </ac:picMkLst>
        </pc:picChg>
      </pc:sldChg>
      <pc:sldChg chg="modSp">
        <pc:chgData name="Gaiye Zhou" userId="57624dc8-72d9-4103-85d2-3bb69491f2d7" providerId="ADAL" clId="{CAF7940B-39B8-445E-984B-99E1A44C3CD7}" dt="2018-08-29T21:17:30.392" v="25603" actId="14100"/>
        <pc:sldMkLst>
          <pc:docMk/>
          <pc:sldMk cId="193079449" sldId="462"/>
        </pc:sldMkLst>
        <pc:spChg chg="mod">
          <ac:chgData name="Gaiye Zhou" userId="57624dc8-72d9-4103-85d2-3bb69491f2d7" providerId="ADAL" clId="{CAF7940B-39B8-445E-984B-99E1A44C3CD7}" dt="2018-08-29T21:17:30.392" v="25603" actId="14100"/>
          <ac:spMkLst>
            <pc:docMk/>
            <pc:sldMk cId="193079449" sldId="462"/>
            <ac:spMk id="26" creationId="{864C1EFC-A0AD-484E-892A-C054B28E1D92}"/>
          </ac:spMkLst>
        </pc:spChg>
      </pc:sldChg>
      <pc:sldChg chg="modSp">
        <pc:chgData name="Gaiye Zhou" userId="57624dc8-72d9-4103-85d2-3bb69491f2d7" providerId="ADAL" clId="{CAF7940B-39B8-445E-984B-99E1A44C3CD7}" dt="2018-07-24T13:36:56.542" v="18123" actId="313"/>
        <pc:sldMkLst>
          <pc:docMk/>
          <pc:sldMk cId="1421016014" sldId="464"/>
        </pc:sldMkLst>
        <pc:spChg chg="mod">
          <ac:chgData name="Gaiye Zhou" userId="57624dc8-72d9-4103-85d2-3bb69491f2d7" providerId="ADAL" clId="{CAF7940B-39B8-445E-984B-99E1A44C3CD7}" dt="2018-07-24T13:36:56.542" v="18123" actId="313"/>
          <ac:spMkLst>
            <pc:docMk/>
            <pc:sldMk cId="1421016014" sldId="464"/>
            <ac:spMk id="26" creationId="{E5AE025A-718D-44F7-BA6A-95CA79944EB5}"/>
          </ac:spMkLst>
        </pc:spChg>
      </pc:sldChg>
      <pc:sldChg chg="modSp">
        <pc:chgData name="Gaiye Zhou" userId="57624dc8-72d9-4103-85d2-3bb69491f2d7" providerId="ADAL" clId="{CAF7940B-39B8-445E-984B-99E1A44C3CD7}" dt="2018-07-24T13:58:04.316" v="18126" actId="1076"/>
        <pc:sldMkLst>
          <pc:docMk/>
          <pc:sldMk cId="1299221932" sldId="465"/>
        </pc:sldMkLst>
        <pc:spChg chg="mod">
          <ac:chgData name="Gaiye Zhou" userId="57624dc8-72d9-4103-85d2-3bb69491f2d7" providerId="ADAL" clId="{CAF7940B-39B8-445E-984B-99E1A44C3CD7}" dt="2018-07-24T13:58:04.316" v="18126" actId="1076"/>
          <ac:spMkLst>
            <pc:docMk/>
            <pc:sldMk cId="1299221932" sldId="465"/>
            <ac:spMk id="26" creationId="{DE0C95D9-BA7A-4A4A-9EF0-09069615E3D3}"/>
          </ac:spMkLst>
        </pc:spChg>
      </pc:sldChg>
      <pc:sldChg chg="modSp">
        <pc:chgData name="Gaiye Zhou" userId="57624dc8-72d9-4103-85d2-3bb69491f2d7" providerId="ADAL" clId="{CAF7940B-39B8-445E-984B-99E1A44C3CD7}" dt="2018-07-24T13:59:00.041" v="18129" actId="1076"/>
        <pc:sldMkLst>
          <pc:docMk/>
          <pc:sldMk cId="1491191598" sldId="466"/>
        </pc:sldMkLst>
        <pc:spChg chg="mod">
          <ac:chgData name="Gaiye Zhou" userId="57624dc8-72d9-4103-85d2-3bb69491f2d7" providerId="ADAL" clId="{CAF7940B-39B8-445E-984B-99E1A44C3CD7}" dt="2018-07-24T13:59:00.041" v="18129" actId="1076"/>
          <ac:spMkLst>
            <pc:docMk/>
            <pc:sldMk cId="1491191598" sldId="466"/>
            <ac:spMk id="2" creationId="{305F49B5-6D14-486A-8B46-C2A682D6BF7C}"/>
          </ac:spMkLst>
        </pc:spChg>
      </pc:sldChg>
      <pc:sldChg chg="addSp delSp modSp add ord">
        <pc:chgData name="Gaiye Zhou" userId="57624dc8-72d9-4103-85d2-3bb69491f2d7" providerId="ADAL" clId="{CAF7940B-39B8-445E-984B-99E1A44C3CD7}" dt="2018-07-31T19:40:33.485" v="23991" actId="20577"/>
        <pc:sldMkLst>
          <pc:docMk/>
          <pc:sldMk cId="3506481604" sldId="467"/>
        </pc:sldMkLst>
        <pc:spChg chg="add del mod">
          <ac:chgData name="Gaiye Zhou" userId="57624dc8-72d9-4103-85d2-3bb69491f2d7" providerId="ADAL" clId="{CAF7940B-39B8-445E-984B-99E1A44C3CD7}" dt="2018-07-21T06:43:37.347" v="12831" actId="478"/>
          <ac:spMkLst>
            <pc:docMk/>
            <pc:sldMk cId="3506481604" sldId="467"/>
            <ac:spMk id="2" creationId="{6DB749FC-7410-43A3-8BD7-54A3C9409F12}"/>
          </ac:spMkLst>
        </pc:spChg>
        <pc:spChg chg="add del">
          <ac:chgData name="Gaiye Zhou" userId="57624dc8-72d9-4103-85d2-3bb69491f2d7" providerId="ADAL" clId="{CAF7940B-39B8-445E-984B-99E1A44C3CD7}" dt="2018-07-23T17:36:32.545" v="12955"/>
          <ac:spMkLst>
            <pc:docMk/>
            <pc:sldMk cId="3506481604" sldId="467"/>
            <ac:spMk id="3" creationId="{D320B3B4-62E2-44A4-A907-07F61F5EF159}"/>
          </ac:spMkLst>
        </pc:spChg>
        <pc:spChg chg="mod">
          <ac:chgData name="Gaiye Zhou" userId="57624dc8-72d9-4103-85d2-3bb69491f2d7" providerId="ADAL" clId="{CAF7940B-39B8-445E-984B-99E1A44C3CD7}" dt="2018-07-23T20:19:32.852" v="14953" actId="20577"/>
          <ac:spMkLst>
            <pc:docMk/>
            <pc:sldMk cId="3506481604" sldId="467"/>
            <ac:spMk id="6" creationId="{44E5690F-35AB-40A3-AF7A-1F83F8B85A15}"/>
          </ac:spMkLst>
        </pc:spChg>
        <pc:spChg chg="add del mod">
          <ac:chgData name="Gaiye Zhou" userId="57624dc8-72d9-4103-85d2-3bb69491f2d7" providerId="ADAL" clId="{CAF7940B-39B8-445E-984B-99E1A44C3CD7}" dt="2018-07-23T18:49:13.732" v="13751" actId="478"/>
          <ac:spMkLst>
            <pc:docMk/>
            <pc:sldMk cId="3506481604" sldId="467"/>
            <ac:spMk id="25" creationId="{C86B3BA4-0FFC-49B7-AFC6-BB4C6773D589}"/>
          </ac:spMkLst>
        </pc:spChg>
        <pc:spChg chg="add mod">
          <ac:chgData name="Gaiye Zhou" userId="57624dc8-72d9-4103-85d2-3bb69491f2d7" providerId="ADAL" clId="{CAF7940B-39B8-445E-984B-99E1A44C3CD7}" dt="2018-07-24T14:52:16.266" v="18685" actId="20577"/>
          <ac:spMkLst>
            <pc:docMk/>
            <pc:sldMk cId="3506481604" sldId="467"/>
            <ac:spMk id="25" creationId="{F7744A62-7662-4667-98A7-FF2A4C5D7492}"/>
          </ac:spMkLst>
        </pc:spChg>
        <pc:spChg chg="add del mod">
          <ac:chgData name="Gaiye Zhou" userId="57624dc8-72d9-4103-85d2-3bb69491f2d7" providerId="ADAL" clId="{CAF7940B-39B8-445E-984B-99E1A44C3CD7}" dt="2018-07-23T20:11:39.030" v="14632" actId="478"/>
          <ac:spMkLst>
            <pc:docMk/>
            <pc:sldMk cId="3506481604" sldId="467"/>
            <ac:spMk id="28" creationId="{CD2A8608-60A5-44E3-AA65-C5F4CB73CFF3}"/>
          </ac:spMkLst>
        </pc:spChg>
        <pc:spChg chg="add del mod">
          <ac:chgData name="Gaiye Zhou" userId="57624dc8-72d9-4103-85d2-3bb69491f2d7" providerId="ADAL" clId="{CAF7940B-39B8-445E-984B-99E1A44C3CD7}" dt="2018-07-23T20:16:51.755" v="14819" actId="478"/>
          <ac:spMkLst>
            <pc:docMk/>
            <pc:sldMk cId="3506481604" sldId="467"/>
            <ac:spMk id="29" creationId="{832D827B-AEE2-40A5-8366-BBFF2E514598}"/>
          </ac:spMkLst>
        </pc:spChg>
        <pc:spChg chg="add mod">
          <ac:chgData name="Gaiye Zhou" userId="57624dc8-72d9-4103-85d2-3bb69491f2d7" providerId="ADAL" clId="{CAF7940B-39B8-445E-984B-99E1A44C3CD7}" dt="2018-07-24T14:51:26.194" v="18677" actId="20577"/>
          <ac:spMkLst>
            <pc:docMk/>
            <pc:sldMk cId="3506481604" sldId="467"/>
            <ac:spMk id="30" creationId="{F8E8EF4F-38F4-45B1-93A8-D8ACA503AFB0}"/>
          </ac:spMkLst>
        </pc:spChg>
        <pc:spChg chg="add del mod">
          <ac:chgData name="Gaiye Zhou" userId="57624dc8-72d9-4103-85d2-3bb69491f2d7" providerId="ADAL" clId="{CAF7940B-39B8-445E-984B-99E1A44C3CD7}" dt="2018-07-23T18:55:22.350" v="14166" actId="478"/>
          <ac:spMkLst>
            <pc:docMk/>
            <pc:sldMk cId="3506481604" sldId="467"/>
            <ac:spMk id="31" creationId="{29AF9CC5-3ECC-4BF9-9CAB-68C02F1E2710}"/>
          </ac:spMkLst>
        </pc:spChg>
        <pc:spChg chg="add del mod">
          <ac:chgData name="Gaiye Zhou" userId="57624dc8-72d9-4103-85d2-3bb69491f2d7" providerId="ADAL" clId="{CAF7940B-39B8-445E-984B-99E1A44C3CD7}" dt="2018-07-23T20:16:16.115" v="14781" actId="478"/>
          <ac:spMkLst>
            <pc:docMk/>
            <pc:sldMk cId="3506481604" sldId="467"/>
            <ac:spMk id="32" creationId="{E0E09880-D166-40CB-BE42-60289AE90D96}"/>
          </ac:spMkLst>
        </pc:spChg>
        <pc:spChg chg="add mod">
          <ac:chgData name="Gaiye Zhou" userId="57624dc8-72d9-4103-85d2-3bb69491f2d7" providerId="ADAL" clId="{CAF7940B-39B8-445E-984B-99E1A44C3CD7}" dt="2018-07-24T14:51:11.470" v="18676" actId="20577"/>
          <ac:spMkLst>
            <pc:docMk/>
            <pc:sldMk cId="3506481604" sldId="467"/>
            <ac:spMk id="33" creationId="{92E4E159-20DF-4DE7-B740-EF5F41F32B19}"/>
          </ac:spMkLst>
        </pc:spChg>
        <pc:spChg chg="add del mod">
          <ac:chgData name="Gaiye Zhou" userId="57624dc8-72d9-4103-85d2-3bb69491f2d7" providerId="ADAL" clId="{CAF7940B-39B8-445E-984B-99E1A44C3CD7}" dt="2018-07-23T20:16:06.940" v="14779" actId="478"/>
          <ac:spMkLst>
            <pc:docMk/>
            <pc:sldMk cId="3506481604" sldId="467"/>
            <ac:spMk id="34" creationId="{462B9025-7262-4E7B-A846-84F00E3A209A}"/>
          </ac:spMkLst>
        </pc:spChg>
        <pc:spChg chg="add del mod">
          <ac:chgData name="Gaiye Zhou" userId="57624dc8-72d9-4103-85d2-3bb69491f2d7" providerId="ADAL" clId="{CAF7940B-39B8-445E-984B-99E1A44C3CD7}" dt="2018-07-23T20:11:33.845" v="14630" actId="478"/>
          <ac:spMkLst>
            <pc:docMk/>
            <pc:sldMk cId="3506481604" sldId="467"/>
            <ac:spMk id="35" creationId="{51617D7D-B109-4DD9-9D62-0E6E72C4E757}"/>
          </ac:spMkLst>
        </pc:spChg>
        <pc:spChg chg="add mod">
          <ac:chgData name="Gaiye Zhou" userId="57624dc8-72d9-4103-85d2-3bb69491f2d7" providerId="ADAL" clId="{CAF7940B-39B8-445E-984B-99E1A44C3CD7}" dt="2018-07-31T19:40:33.485" v="23991" actId="20577"/>
          <ac:spMkLst>
            <pc:docMk/>
            <pc:sldMk cId="3506481604" sldId="467"/>
            <ac:spMk id="36" creationId="{07A6AD12-DA03-4E52-A1F0-B0351663C419}"/>
          </ac:spMkLst>
        </pc:spChg>
        <pc:spChg chg="add del mod">
          <ac:chgData name="Gaiye Zhou" userId="57624dc8-72d9-4103-85d2-3bb69491f2d7" providerId="ADAL" clId="{CAF7940B-39B8-445E-984B-99E1A44C3CD7}" dt="2018-07-23T20:17:01.235" v="14821" actId="478"/>
          <ac:spMkLst>
            <pc:docMk/>
            <pc:sldMk cId="3506481604" sldId="467"/>
            <ac:spMk id="37" creationId="{B1F22E15-9872-4B8E-9DAD-3434309CC4A0}"/>
          </ac:spMkLst>
        </pc:spChg>
        <pc:spChg chg="del">
          <ac:chgData name="Gaiye Zhou" userId="57624dc8-72d9-4103-85d2-3bb69491f2d7" providerId="ADAL" clId="{CAF7940B-39B8-445E-984B-99E1A44C3CD7}" dt="2018-07-21T06:43:59.874" v="12837" actId="478"/>
          <ac:spMkLst>
            <pc:docMk/>
            <pc:sldMk cId="3506481604" sldId="467"/>
            <ac:spMk id="42" creationId="{DCEBD024-C0FC-4923-9CC7-1471DFEE1463}"/>
          </ac:spMkLst>
        </pc:spChg>
        <pc:spChg chg="add del mod">
          <ac:chgData name="Gaiye Zhou" userId="57624dc8-72d9-4103-85d2-3bb69491f2d7" providerId="ADAL" clId="{CAF7940B-39B8-445E-984B-99E1A44C3CD7}" dt="2018-07-23T20:11:35.749" v="14631" actId="478"/>
          <ac:spMkLst>
            <pc:docMk/>
            <pc:sldMk cId="3506481604" sldId="467"/>
            <ac:spMk id="43" creationId="{EC1AA17E-952B-40D3-B469-2D18C57B8B6B}"/>
          </ac:spMkLst>
        </pc:spChg>
        <pc:spChg chg="del">
          <ac:chgData name="Gaiye Zhou" userId="57624dc8-72d9-4103-85d2-3bb69491f2d7" providerId="ADAL" clId="{CAF7940B-39B8-445E-984B-99E1A44C3CD7}" dt="2018-07-20T23:58:16.351" v="12627" actId="478"/>
          <ac:spMkLst>
            <pc:docMk/>
            <pc:sldMk cId="3506481604" sldId="467"/>
            <ac:spMk id="74" creationId="{6A60764F-2F1D-4BE4-9F77-123399E62200}"/>
          </ac:spMkLst>
        </pc:spChg>
        <pc:spChg chg="del">
          <ac:chgData name="Gaiye Zhou" userId="57624dc8-72d9-4103-85d2-3bb69491f2d7" providerId="ADAL" clId="{CAF7940B-39B8-445E-984B-99E1A44C3CD7}" dt="2018-07-20T23:58:19.733" v="12629" actId="478"/>
          <ac:spMkLst>
            <pc:docMk/>
            <pc:sldMk cId="3506481604" sldId="467"/>
            <ac:spMk id="77" creationId="{AD7CEADB-EDF5-47E4-A8F6-8CBECA3A9D4E}"/>
          </ac:spMkLst>
        </pc:spChg>
        <pc:spChg chg="del">
          <ac:chgData name="Gaiye Zhou" userId="57624dc8-72d9-4103-85d2-3bb69491f2d7" providerId="ADAL" clId="{CAF7940B-39B8-445E-984B-99E1A44C3CD7}" dt="2018-07-20T23:58:16.351" v="12627" actId="478"/>
          <ac:spMkLst>
            <pc:docMk/>
            <pc:sldMk cId="3506481604" sldId="467"/>
            <ac:spMk id="78" creationId="{2A230353-B782-47AA-889E-1788E3884B7F}"/>
          </ac:spMkLst>
        </pc:spChg>
        <pc:spChg chg="del">
          <ac:chgData name="Gaiye Zhou" userId="57624dc8-72d9-4103-85d2-3bb69491f2d7" providerId="ADAL" clId="{CAF7940B-39B8-445E-984B-99E1A44C3CD7}" dt="2018-07-20T23:58:16.351" v="12627" actId="478"/>
          <ac:spMkLst>
            <pc:docMk/>
            <pc:sldMk cId="3506481604" sldId="467"/>
            <ac:spMk id="79" creationId="{473553EC-4A8F-4906-9456-26ADC60F7AA5}"/>
          </ac:spMkLst>
        </pc:spChg>
        <pc:spChg chg="del">
          <ac:chgData name="Gaiye Zhou" userId="57624dc8-72d9-4103-85d2-3bb69491f2d7" providerId="ADAL" clId="{CAF7940B-39B8-445E-984B-99E1A44C3CD7}" dt="2018-07-20T23:58:16.351" v="12627" actId="478"/>
          <ac:spMkLst>
            <pc:docMk/>
            <pc:sldMk cId="3506481604" sldId="467"/>
            <ac:spMk id="82" creationId="{C95D8FCC-792E-4590-ACDA-84A79304C3DA}"/>
          </ac:spMkLst>
        </pc:spChg>
        <pc:spChg chg="del">
          <ac:chgData name="Gaiye Zhou" userId="57624dc8-72d9-4103-85d2-3bb69491f2d7" providerId="ADAL" clId="{CAF7940B-39B8-445E-984B-99E1A44C3CD7}" dt="2018-07-20T23:58:16.351" v="12627" actId="478"/>
          <ac:spMkLst>
            <pc:docMk/>
            <pc:sldMk cId="3506481604" sldId="467"/>
            <ac:spMk id="84" creationId="{E2A42D68-FA4D-455E-BD3F-BFDDAF214857}"/>
          </ac:spMkLst>
        </pc:spChg>
        <pc:spChg chg="del">
          <ac:chgData name="Gaiye Zhou" userId="57624dc8-72d9-4103-85d2-3bb69491f2d7" providerId="ADAL" clId="{CAF7940B-39B8-445E-984B-99E1A44C3CD7}" dt="2018-07-20T23:58:16.351" v="12627" actId="478"/>
          <ac:spMkLst>
            <pc:docMk/>
            <pc:sldMk cId="3506481604" sldId="467"/>
            <ac:spMk id="85" creationId="{3B72AF0C-8BD1-4B34-B90C-91C7F24368B6}"/>
          </ac:spMkLst>
        </pc:spChg>
        <pc:spChg chg="del">
          <ac:chgData name="Gaiye Zhou" userId="57624dc8-72d9-4103-85d2-3bb69491f2d7" providerId="ADAL" clId="{CAF7940B-39B8-445E-984B-99E1A44C3CD7}" dt="2018-07-20T23:58:16.351" v="12627" actId="478"/>
          <ac:spMkLst>
            <pc:docMk/>
            <pc:sldMk cId="3506481604" sldId="467"/>
            <ac:spMk id="86" creationId="{3DAABD03-0356-42EE-B92D-799FA7B6771A}"/>
          </ac:spMkLst>
        </pc:spChg>
        <pc:spChg chg="del">
          <ac:chgData name="Gaiye Zhou" userId="57624dc8-72d9-4103-85d2-3bb69491f2d7" providerId="ADAL" clId="{CAF7940B-39B8-445E-984B-99E1A44C3CD7}" dt="2018-07-20T23:58:16.351" v="12627" actId="478"/>
          <ac:spMkLst>
            <pc:docMk/>
            <pc:sldMk cId="3506481604" sldId="467"/>
            <ac:spMk id="88" creationId="{1315497A-938E-430F-8682-EB8DB88AD41E}"/>
          </ac:spMkLst>
        </pc:spChg>
        <pc:spChg chg="del">
          <ac:chgData name="Gaiye Zhou" userId="57624dc8-72d9-4103-85d2-3bb69491f2d7" providerId="ADAL" clId="{CAF7940B-39B8-445E-984B-99E1A44C3CD7}" dt="2018-07-20T23:58:16.351" v="12627" actId="478"/>
          <ac:spMkLst>
            <pc:docMk/>
            <pc:sldMk cId="3506481604" sldId="467"/>
            <ac:spMk id="90" creationId="{02AF4C18-8C5C-40A1-98BB-79AE7EB421E9}"/>
          </ac:spMkLst>
        </pc:spChg>
        <pc:spChg chg="del">
          <ac:chgData name="Gaiye Zhou" userId="57624dc8-72d9-4103-85d2-3bb69491f2d7" providerId="ADAL" clId="{CAF7940B-39B8-445E-984B-99E1A44C3CD7}" dt="2018-07-20T23:58:18.186" v="12628" actId="478"/>
          <ac:spMkLst>
            <pc:docMk/>
            <pc:sldMk cId="3506481604" sldId="467"/>
            <ac:spMk id="91" creationId="{680365A5-5520-452A-B6CC-152E9986EE7F}"/>
          </ac:spMkLst>
        </pc:spChg>
        <pc:picChg chg="add del mod">
          <ac:chgData name="Gaiye Zhou" userId="57624dc8-72d9-4103-85d2-3bb69491f2d7" providerId="ADAL" clId="{CAF7940B-39B8-445E-984B-99E1A44C3CD7}" dt="2018-07-23T18:49:12.277" v="13750" actId="478"/>
          <ac:picMkLst>
            <pc:docMk/>
            <pc:sldMk cId="3506481604" sldId="467"/>
            <ac:picMk id="2" creationId="{572D2773-201E-48BB-8E33-CA5A56B3AF3F}"/>
          </ac:picMkLst>
        </pc:picChg>
        <pc:picChg chg="del mod">
          <ac:chgData name="Gaiye Zhou" userId="57624dc8-72d9-4103-85d2-3bb69491f2d7" providerId="ADAL" clId="{CAF7940B-39B8-445E-984B-99E1A44C3CD7}" dt="2018-07-20T23:58:24.301" v="12631" actId="478"/>
          <ac:picMkLst>
            <pc:docMk/>
            <pc:sldMk cId="3506481604" sldId="467"/>
            <ac:picMk id="3" creationId="{D1B20DBC-8BC1-41FD-8877-8398F073AE14}"/>
          </ac:picMkLst>
        </pc:picChg>
        <pc:picChg chg="add del mod">
          <ac:chgData name="Gaiye Zhou" userId="57624dc8-72d9-4103-85d2-3bb69491f2d7" providerId="ADAL" clId="{CAF7940B-39B8-445E-984B-99E1A44C3CD7}" dt="2018-07-23T18:48:28.887" v="13740" actId="478"/>
          <ac:picMkLst>
            <pc:docMk/>
            <pc:sldMk cId="3506481604" sldId="467"/>
            <ac:picMk id="4" creationId="{76290FE6-943D-4B55-A973-FF4F53C53B29}"/>
          </ac:picMkLst>
        </pc:picChg>
        <pc:picChg chg="add del mod">
          <ac:chgData name="Gaiye Zhou" userId="57624dc8-72d9-4103-85d2-3bb69491f2d7" providerId="ADAL" clId="{CAF7940B-39B8-445E-984B-99E1A44C3CD7}" dt="2018-07-23T20:16:49.799" v="14818" actId="478"/>
          <ac:picMkLst>
            <pc:docMk/>
            <pc:sldMk cId="3506481604" sldId="467"/>
            <ac:picMk id="5" creationId="{D188F6FE-76F2-4BEF-9054-CAC062AFB47F}"/>
          </ac:picMkLst>
        </pc:picChg>
        <pc:picChg chg="add del mod">
          <ac:chgData name="Gaiye Zhou" userId="57624dc8-72d9-4103-85d2-3bb69491f2d7" providerId="ADAL" clId="{CAF7940B-39B8-445E-984B-99E1A44C3CD7}" dt="2018-07-23T20:10:39.129" v="14556" actId="478"/>
          <ac:picMkLst>
            <pc:docMk/>
            <pc:sldMk cId="3506481604" sldId="467"/>
            <ac:picMk id="26" creationId="{AE232B61-C8C5-4BDB-ACFD-7A3D9F8B9B2D}"/>
          </ac:picMkLst>
        </pc:picChg>
        <pc:picChg chg="del">
          <ac:chgData name="Gaiye Zhou" userId="57624dc8-72d9-4103-85d2-3bb69491f2d7" providerId="ADAL" clId="{CAF7940B-39B8-445E-984B-99E1A44C3CD7}" dt="2018-07-20T23:58:16.351" v="12627" actId="478"/>
          <ac:picMkLst>
            <pc:docMk/>
            <pc:sldMk cId="3506481604" sldId="467"/>
            <ac:picMk id="75" creationId="{803F3CB5-9663-45A2-A71F-F81841199A73}"/>
          </ac:picMkLst>
        </pc:picChg>
        <pc:picChg chg="del">
          <ac:chgData name="Gaiye Zhou" userId="57624dc8-72d9-4103-85d2-3bb69491f2d7" providerId="ADAL" clId="{CAF7940B-39B8-445E-984B-99E1A44C3CD7}" dt="2018-07-20T23:58:16.351" v="12627" actId="478"/>
          <ac:picMkLst>
            <pc:docMk/>
            <pc:sldMk cId="3506481604" sldId="467"/>
            <ac:picMk id="76" creationId="{EC17347B-ED63-4FA7-AA11-C1566B5C7FF3}"/>
          </ac:picMkLst>
        </pc:picChg>
        <pc:picChg chg="del">
          <ac:chgData name="Gaiye Zhou" userId="57624dc8-72d9-4103-85d2-3bb69491f2d7" providerId="ADAL" clId="{CAF7940B-39B8-445E-984B-99E1A44C3CD7}" dt="2018-07-20T23:58:16.351" v="12627" actId="478"/>
          <ac:picMkLst>
            <pc:docMk/>
            <pc:sldMk cId="3506481604" sldId="467"/>
            <ac:picMk id="80" creationId="{E29D81E1-AEC5-49D2-9CB4-33CF5723E5B3}"/>
          </ac:picMkLst>
        </pc:picChg>
        <pc:picChg chg="del">
          <ac:chgData name="Gaiye Zhou" userId="57624dc8-72d9-4103-85d2-3bb69491f2d7" providerId="ADAL" clId="{CAF7940B-39B8-445E-984B-99E1A44C3CD7}" dt="2018-07-20T23:58:16.351" v="12627" actId="478"/>
          <ac:picMkLst>
            <pc:docMk/>
            <pc:sldMk cId="3506481604" sldId="467"/>
            <ac:picMk id="81" creationId="{F054F959-1128-4013-9E9B-FA2E8447C8FB}"/>
          </ac:picMkLst>
        </pc:picChg>
        <pc:picChg chg="del">
          <ac:chgData name="Gaiye Zhou" userId="57624dc8-72d9-4103-85d2-3bb69491f2d7" providerId="ADAL" clId="{CAF7940B-39B8-445E-984B-99E1A44C3CD7}" dt="2018-07-20T23:58:16.351" v="12627" actId="478"/>
          <ac:picMkLst>
            <pc:docMk/>
            <pc:sldMk cId="3506481604" sldId="467"/>
            <ac:picMk id="87" creationId="{1BA85DEA-BAA4-4C93-95F9-D43628B8E736}"/>
          </ac:picMkLst>
        </pc:picChg>
        <pc:picChg chg="del">
          <ac:chgData name="Gaiye Zhou" userId="57624dc8-72d9-4103-85d2-3bb69491f2d7" providerId="ADAL" clId="{CAF7940B-39B8-445E-984B-99E1A44C3CD7}" dt="2018-07-20T23:58:16.351" v="12627" actId="478"/>
          <ac:picMkLst>
            <pc:docMk/>
            <pc:sldMk cId="3506481604" sldId="467"/>
            <ac:picMk id="89" creationId="{D45E4F5F-BB26-42B2-AA5A-6E2167623CA8}"/>
          </ac:picMkLst>
        </pc:picChg>
      </pc:sldChg>
      <pc:sldChg chg="addSp delSp modSp add">
        <pc:chgData name="Gaiye Zhou" userId="57624dc8-72d9-4103-85d2-3bb69491f2d7" providerId="ADAL" clId="{CAF7940B-39B8-445E-984B-99E1A44C3CD7}" dt="2018-07-24T16:16:50.223" v="19766" actId="207"/>
        <pc:sldMkLst>
          <pc:docMk/>
          <pc:sldMk cId="369456695" sldId="468"/>
        </pc:sldMkLst>
        <pc:spChg chg="mod">
          <ac:chgData name="Gaiye Zhou" userId="57624dc8-72d9-4103-85d2-3bb69491f2d7" providerId="ADAL" clId="{CAF7940B-39B8-445E-984B-99E1A44C3CD7}" dt="2018-07-23T18:44:12.438" v="13729" actId="207"/>
          <ac:spMkLst>
            <pc:docMk/>
            <pc:sldMk cId="369456695" sldId="468"/>
            <ac:spMk id="3" creationId="{F76A0E89-AC4E-4481-BD3F-C8DA5CABE8A6}"/>
          </ac:spMkLst>
        </pc:spChg>
        <pc:spChg chg="del">
          <ac:chgData name="Gaiye Zhou" userId="57624dc8-72d9-4103-85d2-3bb69491f2d7" providerId="ADAL" clId="{CAF7940B-39B8-445E-984B-99E1A44C3CD7}" dt="2018-07-23T18:34:56.811" v="13034" actId="478"/>
          <ac:spMkLst>
            <pc:docMk/>
            <pc:sldMk cId="369456695" sldId="468"/>
            <ac:spMk id="34" creationId="{4F64854C-D99A-4378-ABD7-5F84BC13E4BE}"/>
          </ac:spMkLst>
        </pc:spChg>
        <pc:spChg chg="del">
          <ac:chgData name="Gaiye Zhou" userId="57624dc8-72d9-4103-85d2-3bb69491f2d7" providerId="ADAL" clId="{CAF7940B-39B8-445E-984B-99E1A44C3CD7}" dt="2018-07-23T18:34:56.811" v="13034" actId="478"/>
          <ac:spMkLst>
            <pc:docMk/>
            <pc:sldMk cId="369456695" sldId="468"/>
            <ac:spMk id="35" creationId="{771756A3-66A8-4D6B-90AE-0B9B492617B5}"/>
          </ac:spMkLst>
        </pc:spChg>
        <pc:spChg chg="add mod">
          <ac:chgData name="Gaiye Zhou" userId="57624dc8-72d9-4103-85d2-3bb69491f2d7" providerId="ADAL" clId="{CAF7940B-39B8-445E-984B-99E1A44C3CD7}" dt="2018-07-24T16:16:50.223" v="19766" actId="207"/>
          <ac:spMkLst>
            <pc:docMk/>
            <pc:sldMk cId="369456695" sldId="468"/>
            <ac:spMk id="37" creationId="{CF028BAC-1502-49A4-85B4-B71964E2E73D}"/>
          </ac:spMkLst>
        </pc:spChg>
        <pc:spChg chg="del">
          <ac:chgData name="Gaiye Zhou" userId="57624dc8-72d9-4103-85d2-3bb69491f2d7" providerId="ADAL" clId="{CAF7940B-39B8-445E-984B-99E1A44C3CD7}" dt="2018-07-23T18:34:56.811" v="13034" actId="478"/>
          <ac:spMkLst>
            <pc:docMk/>
            <pc:sldMk cId="369456695" sldId="468"/>
            <ac:spMk id="40" creationId="{88D11C86-6D6F-4C93-9F6F-67835769E560}"/>
          </ac:spMkLst>
        </pc:spChg>
        <pc:spChg chg="del">
          <ac:chgData name="Gaiye Zhou" userId="57624dc8-72d9-4103-85d2-3bb69491f2d7" providerId="ADAL" clId="{CAF7940B-39B8-445E-984B-99E1A44C3CD7}" dt="2018-07-23T18:34:56.811" v="13034" actId="478"/>
          <ac:spMkLst>
            <pc:docMk/>
            <pc:sldMk cId="369456695" sldId="468"/>
            <ac:spMk id="41" creationId="{A7F8087F-9268-4535-86D1-EB20C04CA3A5}"/>
          </ac:spMkLst>
        </pc:spChg>
        <pc:spChg chg="del">
          <ac:chgData name="Gaiye Zhou" userId="57624dc8-72d9-4103-85d2-3bb69491f2d7" providerId="ADAL" clId="{CAF7940B-39B8-445E-984B-99E1A44C3CD7}" dt="2018-07-23T18:34:56.811" v="13034" actId="478"/>
          <ac:spMkLst>
            <pc:docMk/>
            <pc:sldMk cId="369456695" sldId="468"/>
            <ac:spMk id="45" creationId="{4D35E809-A2B3-4087-AE25-B4A174E11EFA}"/>
          </ac:spMkLst>
        </pc:spChg>
        <pc:spChg chg="del">
          <ac:chgData name="Gaiye Zhou" userId="57624dc8-72d9-4103-85d2-3bb69491f2d7" providerId="ADAL" clId="{CAF7940B-39B8-445E-984B-99E1A44C3CD7}" dt="2018-07-23T18:34:56.811" v="13034" actId="478"/>
          <ac:spMkLst>
            <pc:docMk/>
            <pc:sldMk cId="369456695" sldId="468"/>
            <ac:spMk id="46" creationId="{A2D3CD78-059A-46EF-AB7D-92F2B6532417}"/>
          </ac:spMkLst>
        </pc:spChg>
        <pc:spChg chg="del">
          <ac:chgData name="Gaiye Zhou" userId="57624dc8-72d9-4103-85d2-3bb69491f2d7" providerId="ADAL" clId="{CAF7940B-39B8-445E-984B-99E1A44C3CD7}" dt="2018-07-23T18:34:56.811" v="13034" actId="478"/>
          <ac:spMkLst>
            <pc:docMk/>
            <pc:sldMk cId="369456695" sldId="468"/>
            <ac:spMk id="52" creationId="{F051F300-EC17-4889-A0ED-300D475178C0}"/>
          </ac:spMkLst>
        </pc:spChg>
        <pc:spChg chg="del">
          <ac:chgData name="Gaiye Zhou" userId="57624dc8-72d9-4103-85d2-3bb69491f2d7" providerId="ADAL" clId="{CAF7940B-39B8-445E-984B-99E1A44C3CD7}" dt="2018-07-23T18:34:56.811" v="13034" actId="478"/>
          <ac:spMkLst>
            <pc:docMk/>
            <pc:sldMk cId="369456695" sldId="468"/>
            <ac:spMk id="57" creationId="{955A81F2-2117-4D3C-A3BF-8EEE908C4BE8}"/>
          </ac:spMkLst>
        </pc:spChg>
        <pc:picChg chg="del">
          <ac:chgData name="Gaiye Zhou" userId="57624dc8-72d9-4103-85d2-3bb69491f2d7" providerId="ADAL" clId="{CAF7940B-39B8-445E-984B-99E1A44C3CD7}" dt="2018-07-23T18:34:49.571" v="13031" actId="478"/>
          <ac:picMkLst>
            <pc:docMk/>
            <pc:sldMk cId="369456695" sldId="468"/>
            <ac:picMk id="2" creationId="{AF5D53B1-01C0-4B0D-BE41-7FB8FD8C703D}"/>
          </ac:picMkLst>
        </pc:picChg>
        <pc:picChg chg="del">
          <ac:chgData name="Gaiye Zhou" userId="57624dc8-72d9-4103-85d2-3bb69491f2d7" providerId="ADAL" clId="{CAF7940B-39B8-445E-984B-99E1A44C3CD7}" dt="2018-07-23T18:34:51.085" v="13032" actId="478"/>
          <ac:picMkLst>
            <pc:docMk/>
            <pc:sldMk cId="369456695" sldId="468"/>
            <ac:picMk id="33" creationId="{E1F32268-FBDF-46D0-8B23-5019CD343B65}"/>
          </ac:picMkLst>
        </pc:picChg>
        <pc:picChg chg="del">
          <ac:chgData name="Gaiye Zhou" userId="57624dc8-72d9-4103-85d2-3bb69491f2d7" providerId="ADAL" clId="{CAF7940B-39B8-445E-984B-99E1A44C3CD7}" dt="2018-07-23T18:34:56.811" v="13034" actId="478"/>
          <ac:picMkLst>
            <pc:docMk/>
            <pc:sldMk cId="369456695" sldId="468"/>
            <ac:picMk id="36" creationId="{B7EB8C74-5CD1-4373-B9EE-CA0866FC24E2}"/>
          </ac:picMkLst>
        </pc:picChg>
        <pc:picChg chg="del">
          <ac:chgData name="Gaiye Zhou" userId="57624dc8-72d9-4103-85d2-3bb69491f2d7" providerId="ADAL" clId="{CAF7940B-39B8-445E-984B-99E1A44C3CD7}" dt="2018-07-23T18:34:56.811" v="13034" actId="478"/>
          <ac:picMkLst>
            <pc:docMk/>
            <pc:sldMk cId="369456695" sldId="468"/>
            <ac:picMk id="39" creationId="{C48BC0F7-C23B-4969-84C7-FE44570E06AB}"/>
          </ac:picMkLst>
        </pc:picChg>
        <pc:picChg chg="del">
          <ac:chgData name="Gaiye Zhou" userId="57624dc8-72d9-4103-85d2-3bb69491f2d7" providerId="ADAL" clId="{CAF7940B-39B8-445E-984B-99E1A44C3CD7}" dt="2018-07-23T18:34:56.811" v="13034" actId="478"/>
          <ac:picMkLst>
            <pc:docMk/>
            <pc:sldMk cId="369456695" sldId="468"/>
            <ac:picMk id="44" creationId="{95515E55-7B90-443B-B03D-974FB68F0649}"/>
          </ac:picMkLst>
        </pc:picChg>
      </pc:sldChg>
      <pc:sldChg chg="addSp delSp modSp add">
        <pc:chgData name="Gaiye Zhou" userId="57624dc8-72d9-4103-85d2-3bb69491f2d7" providerId="ADAL" clId="{CAF7940B-39B8-445E-984B-99E1A44C3CD7}" dt="2018-07-24T16:27:13.794" v="19968" actId="1076"/>
        <pc:sldMkLst>
          <pc:docMk/>
          <pc:sldMk cId="1997083547" sldId="470"/>
        </pc:sldMkLst>
        <pc:spChg chg="del">
          <ac:chgData name="Gaiye Zhou" userId="57624dc8-72d9-4103-85d2-3bb69491f2d7" providerId="ADAL" clId="{CAF7940B-39B8-445E-984B-99E1A44C3CD7}" dt="2018-07-23T21:54:10.108" v="15050" actId="478"/>
          <ac:spMkLst>
            <pc:docMk/>
            <pc:sldMk cId="1997083547" sldId="470"/>
            <ac:spMk id="28" creationId="{CD2A8608-60A5-44E3-AA65-C5F4CB73CFF3}"/>
          </ac:spMkLst>
        </pc:spChg>
        <pc:spChg chg="del">
          <ac:chgData name="Gaiye Zhou" userId="57624dc8-72d9-4103-85d2-3bb69491f2d7" providerId="ADAL" clId="{CAF7940B-39B8-445E-984B-99E1A44C3CD7}" dt="2018-07-23T22:13:34.496" v="15188" actId="478"/>
          <ac:spMkLst>
            <pc:docMk/>
            <pc:sldMk cId="1997083547" sldId="470"/>
            <ac:spMk id="29" creationId="{832D827B-AEE2-40A5-8366-BBFF2E514598}"/>
          </ac:spMkLst>
        </pc:spChg>
        <pc:spChg chg="del">
          <ac:chgData name="Gaiye Zhou" userId="57624dc8-72d9-4103-85d2-3bb69491f2d7" providerId="ADAL" clId="{CAF7940B-39B8-445E-984B-99E1A44C3CD7}" dt="2018-07-23T21:54:08.703" v="15049" actId="478"/>
          <ac:spMkLst>
            <pc:docMk/>
            <pc:sldMk cId="1997083547" sldId="470"/>
            <ac:spMk id="30" creationId="{F8E8EF4F-38F4-45B1-93A8-D8ACA503AFB0}"/>
          </ac:spMkLst>
        </pc:spChg>
        <pc:spChg chg="del">
          <ac:chgData name="Gaiye Zhou" userId="57624dc8-72d9-4103-85d2-3bb69491f2d7" providerId="ADAL" clId="{CAF7940B-39B8-445E-984B-99E1A44C3CD7}" dt="2018-07-23T21:54:05.207" v="15047" actId="478"/>
          <ac:spMkLst>
            <pc:docMk/>
            <pc:sldMk cId="1997083547" sldId="470"/>
            <ac:spMk id="32" creationId="{E0E09880-D166-40CB-BE42-60289AE90D96}"/>
          </ac:spMkLst>
        </pc:spChg>
        <pc:spChg chg="del">
          <ac:chgData name="Gaiye Zhou" userId="57624dc8-72d9-4103-85d2-3bb69491f2d7" providerId="ADAL" clId="{CAF7940B-39B8-445E-984B-99E1A44C3CD7}" dt="2018-07-23T21:54:03.495" v="15046" actId="478"/>
          <ac:spMkLst>
            <pc:docMk/>
            <pc:sldMk cId="1997083547" sldId="470"/>
            <ac:spMk id="33" creationId="{92E4E159-20DF-4DE7-B740-EF5F41F32B19}"/>
          </ac:spMkLst>
        </pc:spChg>
        <pc:spChg chg="del">
          <ac:chgData name="Gaiye Zhou" userId="57624dc8-72d9-4103-85d2-3bb69491f2d7" providerId="ADAL" clId="{CAF7940B-39B8-445E-984B-99E1A44C3CD7}" dt="2018-07-23T21:54:06.572" v="15048" actId="478"/>
          <ac:spMkLst>
            <pc:docMk/>
            <pc:sldMk cId="1997083547" sldId="470"/>
            <ac:spMk id="34" creationId="{462B9025-7262-4E7B-A846-84F00E3A209A}"/>
          </ac:spMkLst>
        </pc:spChg>
        <pc:spChg chg="del mod">
          <ac:chgData name="Gaiye Zhou" userId="57624dc8-72d9-4103-85d2-3bb69491f2d7" providerId="ADAL" clId="{CAF7940B-39B8-445E-984B-99E1A44C3CD7}" dt="2018-07-23T22:13:25.040" v="15184" actId="478"/>
          <ac:spMkLst>
            <pc:docMk/>
            <pc:sldMk cId="1997083547" sldId="470"/>
            <ac:spMk id="35" creationId="{51617D7D-B109-4DD9-9D62-0E6E72C4E757}"/>
          </ac:spMkLst>
        </pc:spChg>
        <pc:spChg chg="add mod">
          <ac:chgData name="Gaiye Zhou" userId="57624dc8-72d9-4103-85d2-3bb69491f2d7" providerId="ADAL" clId="{CAF7940B-39B8-445E-984B-99E1A44C3CD7}" dt="2018-07-24T16:27:13.794" v="19968" actId="1076"/>
          <ac:spMkLst>
            <pc:docMk/>
            <pc:sldMk cId="1997083547" sldId="470"/>
            <ac:spMk id="36" creationId="{A8061AD6-F212-4102-8318-9BFA3D6BFA93}"/>
          </ac:spMkLst>
        </pc:spChg>
        <pc:spChg chg="add del">
          <ac:chgData name="Gaiye Zhou" userId="57624dc8-72d9-4103-85d2-3bb69491f2d7" providerId="ADAL" clId="{CAF7940B-39B8-445E-984B-99E1A44C3CD7}" dt="2018-07-23T22:19:30.696" v="15338" actId="478"/>
          <ac:spMkLst>
            <pc:docMk/>
            <pc:sldMk cId="1997083547" sldId="470"/>
            <ac:spMk id="37" creationId="{4538E490-2AB6-4191-A06F-D7F4BAC084AA}"/>
          </ac:spMkLst>
        </pc:spChg>
        <pc:spChg chg="add mod">
          <ac:chgData name="Gaiye Zhou" userId="57624dc8-72d9-4103-85d2-3bb69491f2d7" providerId="ADAL" clId="{CAF7940B-39B8-445E-984B-99E1A44C3CD7}" dt="2018-07-24T16:27:10.210" v="19967" actId="1076"/>
          <ac:spMkLst>
            <pc:docMk/>
            <pc:sldMk cId="1997083547" sldId="470"/>
            <ac:spMk id="38" creationId="{D8655711-B534-4823-825D-1BB2FE42C43D}"/>
          </ac:spMkLst>
        </pc:spChg>
        <pc:spChg chg="mod">
          <ac:chgData name="Gaiye Zhou" userId="57624dc8-72d9-4103-85d2-3bb69491f2d7" providerId="ADAL" clId="{CAF7940B-39B8-445E-984B-99E1A44C3CD7}" dt="2018-07-23T22:13:28.221" v="15185" actId="1076"/>
          <ac:spMkLst>
            <pc:docMk/>
            <pc:sldMk cId="1997083547" sldId="470"/>
            <ac:spMk id="43" creationId="{EC1AA17E-952B-40D3-B469-2D18C57B8B6B}"/>
          </ac:spMkLst>
        </pc:spChg>
        <pc:picChg chg="add mod">
          <ac:chgData name="Gaiye Zhou" userId="57624dc8-72d9-4103-85d2-3bb69491f2d7" providerId="ADAL" clId="{CAF7940B-39B8-445E-984B-99E1A44C3CD7}" dt="2018-07-23T22:20:18.501" v="15346" actId="1076"/>
          <ac:picMkLst>
            <pc:docMk/>
            <pc:sldMk cId="1997083547" sldId="470"/>
            <ac:picMk id="2" creationId="{50E91E24-2250-4E72-A83E-58F3128CADD2}"/>
          </ac:picMkLst>
        </pc:picChg>
        <pc:picChg chg="add del mod">
          <ac:chgData name="Gaiye Zhou" userId="57624dc8-72d9-4103-85d2-3bb69491f2d7" providerId="ADAL" clId="{CAF7940B-39B8-445E-984B-99E1A44C3CD7}" dt="2018-07-23T22:16:35.131" v="15328" actId="478"/>
          <ac:picMkLst>
            <pc:docMk/>
            <pc:sldMk cId="1997083547" sldId="470"/>
            <ac:picMk id="3" creationId="{B9FAFF8D-8374-481C-9A71-03637DC44F26}"/>
          </ac:picMkLst>
        </pc:picChg>
        <pc:picChg chg="add mod">
          <ac:chgData name="Gaiye Zhou" userId="57624dc8-72d9-4103-85d2-3bb69491f2d7" providerId="ADAL" clId="{CAF7940B-39B8-445E-984B-99E1A44C3CD7}" dt="2018-07-24T16:24:48.071" v="19881" actId="1076"/>
          <ac:picMkLst>
            <pc:docMk/>
            <pc:sldMk cId="1997083547" sldId="470"/>
            <ac:picMk id="4" creationId="{196C01FB-9C4B-4756-ABC0-08764B38073E}"/>
          </ac:picMkLst>
        </pc:picChg>
        <pc:picChg chg="mod">
          <ac:chgData name="Gaiye Zhou" userId="57624dc8-72d9-4103-85d2-3bb69491f2d7" providerId="ADAL" clId="{CAF7940B-39B8-445E-984B-99E1A44C3CD7}" dt="2018-07-24T16:24:45.889" v="19880" actId="1076"/>
          <ac:picMkLst>
            <pc:docMk/>
            <pc:sldMk cId="1997083547" sldId="470"/>
            <ac:picMk id="5" creationId="{D188F6FE-76F2-4BEF-9054-CAC062AFB47F}"/>
          </ac:picMkLst>
        </pc:picChg>
        <pc:picChg chg="add del mod">
          <ac:chgData name="Gaiye Zhou" userId="57624dc8-72d9-4103-85d2-3bb69491f2d7" providerId="ADAL" clId="{CAF7940B-39B8-445E-984B-99E1A44C3CD7}" dt="2018-07-23T22:20:14.975" v="15345" actId="478"/>
          <ac:picMkLst>
            <pc:docMk/>
            <pc:sldMk cId="1997083547" sldId="470"/>
            <ac:picMk id="25" creationId="{67E52453-E085-4979-BFEB-EBBBBC5FCAEC}"/>
          </ac:picMkLst>
        </pc:picChg>
        <pc:picChg chg="del">
          <ac:chgData name="Gaiye Zhou" userId="57624dc8-72d9-4103-85d2-3bb69491f2d7" providerId="ADAL" clId="{CAF7940B-39B8-445E-984B-99E1A44C3CD7}" dt="2018-07-23T21:54:10.997" v="15051" actId="478"/>
          <ac:picMkLst>
            <pc:docMk/>
            <pc:sldMk cId="1997083547" sldId="470"/>
            <ac:picMk id="26" creationId="{AE232B61-C8C5-4BDB-ACFD-7A3D9F8B9B2D}"/>
          </ac:picMkLst>
        </pc:picChg>
        <pc:inkChg chg="add del">
          <ac:chgData name="Gaiye Zhou" userId="57624dc8-72d9-4103-85d2-3bb69491f2d7" providerId="ADAL" clId="{CAF7940B-39B8-445E-984B-99E1A44C3CD7}" dt="2018-07-23T22:24:55.354" v="15731"/>
          <ac:inkMkLst>
            <pc:docMk/>
            <pc:sldMk cId="1997083547" sldId="470"/>
            <ac:inkMk id="27" creationId="{2BB4D574-FD62-4646-BDB7-A991C70990CE}"/>
          </ac:inkMkLst>
        </pc:inkChg>
        <pc:inkChg chg="add del">
          <ac:chgData name="Gaiye Zhou" userId="57624dc8-72d9-4103-85d2-3bb69491f2d7" providerId="ADAL" clId="{CAF7940B-39B8-445E-984B-99E1A44C3CD7}" dt="2018-07-23T22:24:54.298" v="15730"/>
          <ac:inkMkLst>
            <pc:docMk/>
            <pc:sldMk cId="1997083547" sldId="470"/>
            <ac:inkMk id="31" creationId="{47DDC632-8C94-4567-AEDE-E2BD957AC250}"/>
          </ac:inkMkLst>
        </pc:inkChg>
        <pc:inkChg chg="add del">
          <ac:chgData name="Gaiye Zhou" userId="57624dc8-72d9-4103-85d2-3bb69491f2d7" providerId="ADAL" clId="{CAF7940B-39B8-445E-984B-99E1A44C3CD7}" dt="2018-07-23T22:24:53.648" v="15729"/>
          <ac:inkMkLst>
            <pc:docMk/>
            <pc:sldMk cId="1997083547" sldId="470"/>
            <ac:inkMk id="39" creationId="{C1101452-FFAE-4830-B681-20BB9C452F51}"/>
          </ac:inkMkLst>
        </pc:inkChg>
        <pc:inkChg chg="add del">
          <ac:chgData name="Gaiye Zhou" userId="57624dc8-72d9-4103-85d2-3bb69491f2d7" providerId="ADAL" clId="{CAF7940B-39B8-445E-984B-99E1A44C3CD7}" dt="2018-07-23T22:24:43.399" v="15728"/>
          <ac:inkMkLst>
            <pc:docMk/>
            <pc:sldMk cId="1997083547" sldId="470"/>
            <ac:inkMk id="40" creationId="{3B712CFB-18F5-4A29-8D48-26F9D8C04DE3}"/>
          </ac:inkMkLst>
        </pc:inkChg>
        <pc:cxnChg chg="add mod">
          <ac:chgData name="Gaiye Zhou" userId="57624dc8-72d9-4103-85d2-3bb69491f2d7" providerId="ADAL" clId="{CAF7940B-39B8-445E-984B-99E1A44C3CD7}" dt="2018-07-24T16:25:43.987" v="19889" actId="692"/>
          <ac:cxnSpMkLst>
            <pc:docMk/>
            <pc:sldMk cId="1997083547" sldId="470"/>
            <ac:cxnSpMk id="25" creationId="{08E7408A-BC35-4D82-94A0-6A33CCB3F82B}"/>
          </ac:cxnSpMkLst>
        </pc:cxnChg>
      </pc:sldChg>
      <pc:sldChg chg="addSp modSp ord">
        <pc:chgData name="Gaiye Zhou" userId="57624dc8-72d9-4103-85d2-3bb69491f2d7" providerId="ADAL" clId="{CAF7940B-39B8-445E-984B-99E1A44C3CD7}" dt="2018-09-01T02:53:33.903" v="25872" actId="20577"/>
        <pc:sldMkLst>
          <pc:docMk/>
          <pc:sldMk cId="2186693494" sldId="472"/>
        </pc:sldMkLst>
        <pc:spChg chg="add mod">
          <ac:chgData name="Gaiye Zhou" userId="57624dc8-72d9-4103-85d2-3bb69491f2d7" providerId="ADAL" clId="{CAF7940B-39B8-445E-984B-99E1A44C3CD7}" dt="2018-09-01T02:51:17.398" v="25817" actId="20577"/>
          <ac:spMkLst>
            <pc:docMk/>
            <pc:sldMk cId="2186693494" sldId="472"/>
            <ac:spMk id="2" creationId="{C74AD3CA-8142-40D2-AB8D-D3DFC44CB2D8}"/>
          </ac:spMkLst>
        </pc:spChg>
        <pc:graphicFrameChg chg="mod modGraphic">
          <ac:chgData name="Gaiye Zhou" userId="57624dc8-72d9-4103-85d2-3bb69491f2d7" providerId="ADAL" clId="{CAF7940B-39B8-445E-984B-99E1A44C3CD7}" dt="2018-09-01T02:53:33.903" v="25872" actId="20577"/>
          <ac:graphicFrameMkLst>
            <pc:docMk/>
            <pc:sldMk cId="2186693494" sldId="472"/>
            <ac:graphicFrameMk id="38" creationId="{DE1FD390-CD18-44F1-B954-149A725717F9}"/>
          </ac:graphicFrameMkLst>
        </pc:graphicFrameChg>
      </pc:sldChg>
      <pc:sldChg chg="addSp delSp modSp add">
        <pc:chgData name="Gaiye Zhou" userId="57624dc8-72d9-4103-85d2-3bb69491f2d7" providerId="ADAL" clId="{CAF7940B-39B8-445E-984B-99E1A44C3CD7}" dt="2018-07-31T18:40:43.467" v="23915" actId="20577"/>
        <pc:sldMkLst>
          <pc:docMk/>
          <pc:sldMk cId="906800108" sldId="474"/>
        </pc:sldMkLst>
        <pc:spChg chg="add mod">
          <ac:chgData name="Gaiye Zhou" userId="57624dc8-72d9-4103-85d2-3bb69491f2d7" providerId="ADAL" clId="{CAF7940B-39B8-445E-984B-99E1A44C3CD7}" dt="2018-07-31T18:40:43.467" v="23915" actId="20577"/>
          <ac:spMkLst>
            <pc:docMk/>
            <pc:sldMk cId="906800108" sldId="474"/>
            <ac:spMk id="25" creationId="{BEFE268A-5FEB-4720-B1CB-79879A6DF4C5}"/>
          </ac:spMkLst>
        </pc:spChg>
        <pc:spChg chg="del">
          <ac:chgData name="Gaiye Zhou" userId="57624dc8-72d9-4103-85d2-3bb69491f2d7" providerId="ADAL" clId="{CAF7940B-39B8-445E-984B-99E1A44C3CD7}" dt="2018-07-23T22:46:31.457" v="16529" actId="478"/>
          <ac:spMkLst>
            <pc:docMk/>
            <pc:sldMk cId="906800108" sldId="474"/>
            <ac:spMk id="28" creationId="{39554714-BDAE-4E5D-88C3-453D13CBFA82}"/>
          </ac:spMkLst>
        </pc:spChg>
      </pc:sldChg>
      <pc:sldChg chg="addSp delSp modSp add ord modTransition">
        <pc:chgData name="Gaiye Zhou" userId="57624dc8-72d9-4103-85d2-3bb69491f2d7" providerId="ADAL" clId="{CAF7940B-39B8-445E-984B-99E1A44C3CD7}" dt="2018-07-26T15:49:17.825" v="22531" actId="478"/>
        <pc:sldMkLst>
          <pc:docMk/>
          <pc:sldMk cId="2569976355" sldId="475"/>
        </pc:sldMkLst>
        <pc:spChg chg="add mod">
          <ac:chgData name="Gaiye Zhou" userId="57624dc8-72d9-4103-85d2-3bb69491f2d7" providerId="ADAL" clId="{CAF7940B-39B8-445E-984B-99E1A44C3CD7}" dt="2018-07-25T03:45:39.226" v="22242" actId="14100"/>
          <ac:spMkLst>
            <pc:docMk/>
            <pc:sldMk cId="2569976355" sldId="475"/>
            <ac:spMk id="3" creationId="{032E9B62-38F5-4637-9662-6CE0693BB6A8}"/>
          </ac:spMkLst>
        </pc:spChg>
        <pc:spChg chg="add del mod">
          <ac:chgData name="Gaiye Zhou" userId="57624dc8-72d9-4103-85d2-3bb69491f2d7" providerId="ADAL" clId="{CAF7940B-39B8-445E-984B-99E1A44C3CD7}" dt="2018-07-25T03:37:19.479" v="22124" actId="478"/>
          <ac:spMkLst>
            <pc:docMk/>
            <pc:sldMk cId="2569976355" sldId="475"/>
            <ac:spMk id="4" creationId="{7B3BD1BE-926A-4C1B-A4BC-C00FCED2165E}"/>
          </ac:spMkLst>
        </pc:spChg>
        <pc:spChg chg="mod">
          <ac:chgData name="Gaiye Zhou" userId="57624dc8-72d9-4103-85d2-3bb69491f2d7" providerId="ADAL" clId="{CAF7940B-39B8-445E-984B-99E1A44C3CD7}" dt="2018-07-25T03:38:43.582" v="22142" actId="1076"/>
          <ac:spMkLst>
            <pc:docMk/>
            <pc:sldMk cId="2569976355" sldId="475"/>
            <ac:spMk id="6" creationId="{44E5690F-35AB-40A3-AF7A-1F83F8B85A15}"/>
          </ac:spMkLst>
        </pc:spChg>
        <pc:spChg chg="del mod">
          <ac:chgData name="Gaiye Zhou" userId="57624dc8-72d9-4103-85d2-3bb69491f2d7" providerId="ADAL" clId="{CAF7940B-39B8-445E-984B-99E1A44C3CD7}" dt="2018-07-24T15:24:21.874" v="19182" actId="478"/>
          <ac:spMkLst>
            <pc:docMk/>
            <pc:sldMk cId="2569976355" sldId="475"/>
            <ac:spMk id="65" creationId="{29D72D17-EE45-47EB-B686-D012B61FE6A3}"/>
          </ac:spMkLst>
        </pc:spChg>
        <pc:spChg chg="del">
          <ac:chgData name="Gaiye Zhou" userId="57624dc8-72d9-4103-85d2-3bb69491f2d7" providerId="ADAL" clId="{CAF7940B-39B8-445E-984B-99E1A44C3CD7}" dt="2018-07-24T15:06:21.618" v="18865" actId="478"/>
          <ac:spMkLst>
            <pc:docMk/>
            <pc:sldMk cId="2569976355" sldId="475"/>
            <ac:spMk id="66" creationId="{6975977A-6235-4EBD-8BDD-08230B319EBF}"/>
          </ac:spMkLst>
        </pc:spChg>
        <pc:spChg chg="mod">
          <ac:chgData name="Gaiye Zhou" userId="57624dc8-72d9-4103-85d2-3bb69491f2d7" providerId="ADAL" clId="{CAF7940B-39B8-445E-984B-99E1A44C3CD7}" dt="2018-07-24T15:48:28.620" v="19609" actId="1035"/>
          <ac:spMkLst>
            <pc:docMk/>
            <pc:sldMk cId="2569976355" sldId="475"/>
            <ac:spMk id="67" creationId="{4580A686-0634-48E2-A406-DD5E6FD0E2B1}"/>
          </ac:spMkLst>
        </pc:spChg>
        <pc:spChg chg="mod">
          <ac:chgData name="Gaiye Zhou" userId="57624dc8-72d9-4103-85d2-3bb69491f2d7" providerId="ADAL" clId="{CAF7940B-39B8-445E-984B-99E1A44C3CD7}" dt="2018-07-25T03:53:14.545" v="22315" actId="255"/>
          <ac:spMkLst>
            <pc:docMk/>
            <pc:sldMk cId="2569976355" sldId="475"/>
            <ac:spMk id="68" creationId="{5B412AE4-A6AA-4981-9EA6-1F47045B5810}"/>
          </ac:spMkLst>
        </pc:spChg>
        <pc:spChg chg="add del mod topLvl">
          <ac:chgData name="Gaiye Zhou" userId="57624dc8-72d9-4103-85d2-3bb69491f2d7" providerId="ADAL" clId="{CAF7940B-39B8-445E-984B-99E1A44C3CD7}" dt="2018-07-25T03:53:31.062" v="22317" actId="255"/>
          <ac:spMkLst>
            <pc:docMk/>
            <pc:sldMk cId="2569976355" sldId="475"/>
            <ac:spMk id="81" creationId="{9B61A876-470A-4B77-B947-6D9365AC2063}"/>
          </ac:spMkLst>
        </pc:spChg>
        <pc:spChg chg="del mod topLvl">
          <ac:chgData name="Gaiye Zhou" userId="57624dc8-72d9-4103-85d2-3bb69491f2d7" providerId="ADAL" clId="{CAF7940B-39B8-445E-984B-99E1A44C3CD7}" dt="2018-07-25T03:39:57.058" v="22190" actId="478"/>
          <ac:spMkLst>
            <pc:docMk/>
            <pc:sldMk cId="2569976355" sldId="475"/>
            <ac:spMk id="83" creationId="{2040C91D-CDE3-4A4B-AFBE-0336471A8CCD}"/>
          </ac:spMkLst>
        </pc:spChg>
        <pc:spChg chg="del mod">
          <ac:chgData name="Gaiye Zhou" userId="57624dc8-72d9-4103-85d2-3bb69491f2d7" providerId="ADAL" clId="{CAF7940B-39B8-445E-984B-99E1A44C3CD7}" dt="2018-07-25T03:39:53.867" v="22189" actId="478"/>
          <ac:spMkLst>
            <pc:docMk/>
            <pc:sldMk cId="2569976355" sldId="475"/>
            <ac:spMk id="84" creationId="{AD5D0AE9-83C8-4EE0-94CF-B0D4E25AFD31}"/>
          </ac:spMkLst>
        </pc:spChg>
        <pc:spChg chg="mod">
          <ac:chgData name="Gaiye Zhou" userId="57624dc8-72d9-4103-85d2-3bb69491f2d7" providerId="ADAL" clId="{CAF7940B-39B8-445E-984B-99E1A44C3CD7}" dt="2018-07-24T15:52:34.546" v="19739" actId="1035"/>
          <ac:spMkLst>
            <pc:docMk/>
            <pc:sldMk cId="2569976355" sldId="475"/>
            <ac:spMk id="108" creationId="{FC5AAE84-204A-415A-8EF6-B1D40690B0F7}"/>
          </ac:spMkLst>
        </pc:spChg>
        <pc:spChg chg="mod">
          <ac:chgData name="Gaiye Zhou" userId="57624dc8-72d9-4103-85d2-3bb69491f2d7" providerId="ADAL" clId="{CAF7940B-39B8-445E-984B-99E1A44C3CD7}" dt="2018-07-25T03:54:08.106" v="22323" actId="255"/>
          <ac:spMkLst>
            <pc:docMk/>
            <pc:sldMk cId="2569976355" sldId="475"/>
            <ac:spMk id="111" creationId="{A7B86770-263C-42B1-A578-0E30EE801DF7}"/>
          </ac:spMkLst>
        </pc:spChg>
        <pc:spChg chg="mod">
          <ac:chgData name="Gaiye Zhou" userId="57624dc8-72d9-4103-85d2-3bb69491f2d7" providerId="ADAL" clId="{CAF7940B-39B8-445E-984B-99E1A44C3CD7}" dt="2018-07-25T03:42:43.751" v="22217" actId="1076"/>
          <ac:spMkLst>
            <pc:docMk/>
            <pc:sldMk cId="2569976355" sldId="475"/>
            <ac:spMk id="114" creationId="{049C00E9-BDA7-4F60-9E2A-C6759AFC057C}"/>
          </ac:spMkLst>
        </pc:spChg>
        <pc:spChg chg="add del mod">
          <ac:chgData name="Gaiye Zhou" userId="57624dc8-72d9-4103-85d2-3bb69491f2d7" providerId="ADAL" clId="{CAF7940B-39B8-445E-984B-99E1A44C3CD7}" dt="2018-07-24T15:01:49.996" v="18809"/>
          <ac:spMkLst>
            <pc:docMk/>
            <pc:sldMk cId="2569976355" sldId="475"/>
            <ac:spMk id="119" creationId="{B7565AC0-8462-4666-843F-D537DC3B3F56}"/>
          </ac:spMkLst>
        </pc:spChg>
        <pc:spChg chg="add del mod">
          <ac:chgData name="Gaiye Zhou" userId="57624dc8-72d9-4103-85d2-3bb69491f2d7" providerId="ADAL" clId="{CAF7940B-39B8-445E-984B-99E1A44C3CD7}" dt="2018-07-24T15:01:42.264" v="18801"/>
          <ac:spMkLst>
            <pc:docMk/>
            <pc:sldMk cId="2569976355" sldId="475"/>
            <ac:spMk id="122" creationId="{1D069E76-65F9-40F8-8155-2D2074D43005}"/>
          </ac:spMkLst>
        </pc:spChg>
        <pc:spChg chg="add mod">
          <ac:chgData name="Gaiye Zhou" userId="57624dc8-72d9-4103-85d2-3bb69491f2d7" providerId="ADAL" clId="{CAF7940B-39B8-445E-984B-99E1A44C3CD7}" dt="2018-07-25T03:50:35.115" v="22306" actId="1076"/>
          <ac:spMkLst>
            <pc:docMk/>
            <pc:sldMk cId="2569976355" sldId="475"/>
            <ac:spMk id="123" creationId="{1AF94DDB-B508-4894-9D10-78C3BAC4D69E}"/>
          </ac:spMkLst>
        </pc:spChg>
        <pc:spChg chg="add mod">
          <ac:chgData name="Gaiye Zhou" userId="57624dc8-72d9-4103-85d2-3bb69491f2d7" providerId="ADAL" clId="{CAF7940B-39B8-445E-984B-99E1A44C3CD7}" dt="2018-07-25T03:45:29.141" v="22240" actId="1038"/>
          <ac:spMkLst>
            <pc:docMk/>
            <pc:sldMk cId="2569976355" sldId="475"/>
            <ac:spMk id="124" creationId="{361E98D8-7A5D-47FD-BFDF-A90EE37A43C4}"/>
          </ac:spMkLst>
        </pc:spChg>
        <pc:spChg chg="add del mod">
          <ac:chgData name="Gaiye Zhou" userId="57624dc8-72d9-4103-85d2-3bb69491f2d7" providerId="ADAL" clId="{CAF7940B-39B8-445E-984B-99E1A44C3CD7}" dt="2018-07-24T15:16:06.304" v="18972" actId="478"/>
          <ac:spMkLst>
            <pc:docMk/>
            <pc:sldMk cId="2569976355" sldId="475"/>
            <ac:spMk id="126" creationId="{3B7AFD3A-CB1B-4D92-8582-2F8ABE729028}"/>
          </ac:spMkLst>
        </pc:spChg>
        <pc:spChg chg="add del">
          <ac:chgData name="Gaiye Zhou" userId="57624dc8-72d9-4103-85d2-3bb69491f2d7" providerId="ADAL" clId="{CAF7940B-39B8-445E-984B-99E1A44C3CD7}" dt="2018-07-25T03:26:12.457" v="21816" actId="478"/>
          <ac:spMkLst>
            <pc:docMk/>
            <pc:sldMk cId="2569976355" sldId="475"/>
            <ac:spMk id="129" creationId="{807B4534-AA88-4C07-9D45-311B5D7F434C}"/>
          </ac:spMkLst>
        </pc:spChg>
        <pc:spChg chg="add del mod">
          <ac:chgData name="Gaiye Zhou" userId="57624dc8-72d9-4103-85d2-3bb69491f2d7" providerId="ADAL" clId="{CAF7940B-39B8-445E-984B-99E1A44C3CD7}" dt="2018-07-24T15:24:23.896" v="19183" actId="478"/>
          <ac:spMkLst>
            <pc:docMk/>
            <pc:sldMk cId="2569976355" sldId="475"/>
            <ac:spMk id="129" creationId="{8600B382-47CB-499C-9685-5CF48D2D3C58}"/>
          </ac:spMkLst>
        </pc:spChg>
        <pc:spChg chg="add del">
          <ac:chgData name="Gaiye Zhou" userId="57624dc8-72d9-4103-85d2-3bb69491f2d7" providerId="ADAL" clId="{CAF7940B-39B8-445E-984B-99E1A44C3CD7}" dt="2018-07-24T15:08:57.672" v="18899"/>
          <ac:spMkLst>
            <pc:docMk/>
            <pc:sldMk cId="2569976355" sldId="475"/>
            <ac:spMk id="130" creationId="{05DEB5EE-69ED-4C7F-BFBB-69BBDBC607AA}"/>
          </ac:spMkLst>
        </pc:spChg>
        <pc:spChg chg="add del mod">
          <ac:chgData name="Gaiye Zhou" userId="57624dc8-72d9-4103-85d2-3bb69491f2d7" providerId="ADAL" clId="{CAF7940B-39B8-445E-984B-99E1A44C3CD7}" dt="2018-07-25T03:27:15.159" v="21828" actId="478"/>
          <ac:spMkLst>
            <pc:docMk/>
            <pc:sldMk cId="2569976355" sldId="475"/>
            <ac:spMk id="130" creationId="{1F21B3F3-D159-424D-97F4-214FF112A0D5}"/>
          </ac:spMkLst>
        </pc:spChg>
        <pc:spChg chg="add del mod">
          <ac:chgData name="Gaiye Zhou" userId="57624dc8-72d9-4103-85d2-3bb69491f2d7" providerId="ADAL" clId="{CAF7940B-39B8-445E-984B-99E1A44C3CD7}" dt="2018-07-25T03:26:36.508" v="21821" actId="478"/>
          <ac:spMkLst>
            <pc:docMk/>
            <pc:sldMk cId="2569976355" sldId="475"/>
            <ac:spMk id="131" creationId="{6A8C273C-299A-4F19-899F-25B8359D8691}"/>
          </ac:spMkLst>
        </pc:spChg>
        <pc:spChg chg="del mod topLvl">
          <ac:chgData name="Gaiye Zhou" userId="57624dc8-72d9-4103-85d2-3bb69491f2d7" providerId="ADAL" clId="{CAF7940B-39B8-445E-984B-99E1A44C3CD7}" dt="2018-07-25T03:27:11.629" v="21827" actId="478"/>
          <ac:spMkLst>
            <pc:docMk/>
            <pc:sldMk cId="2569976355" sldId="475"/>
            <ac:spMk id="133" creationId="{A859EF6C-9A45-4FE2-A7EE-01F7B67DCD2A}"/>
          </ac:spMkLst>
        </pc:spChg>
        <pc:spChg chg="mod">
          <ac:chgData name="Gaiye Zhou" userId="57624dc8-72d9-4103-85d2-3bb69491f2d7" providerId="ADAL" clId="{CAF7940B-39B8-445E-984B-99E1A44C3CD7}" dt="2018-07-25T03:50:54.572" v="22308" actId="14100"/>
          <ac:spMkLst>
            <pc:docMk/>
            <pc:sldMk cId="2569976355" sldId="475"/>
            <ac:spMk id="136" creationId="{BAEBF718-0223-46AF-9C29-F26AEC86E622}"/>
          </ac:spMkLst>
        </pc:spChg>
        <pc:spChg chg="mod">
          <ac:chgData name="Gaiye Zhou" userId="57624dc8-72d9-4103-85d2-3bb69491f2d7" providerId="ADAL" clId="{CAF7940B-39B8-445E-984B-99E1A44C3CD7}" dt="2018-07-25T03:39:27.282" v="22185" actId="14100"/>
          <ac:spMkLst>
            <pc:docMk/>
            <pc:sldMk cId="2569976355" sldId="475"/>
            <ac:spMk id="137" creationId="{D1B2E2B8-2310-4729-8716-28F3F19C68D1}"/>
          </ac:spMkLst>
        </pc:spChg>
        <pc:spChg chg="mod">
          <ac:chgData name="Gaiye Zhou" userId="57624dc8-72d9-4103-85d2-3bb69491f2d7" providerId="ADAL" clId="{CAF7940B-39B8-445E-984B-99E1A44C3CD7}" dt="2018-07-25T04:02:44.853" v="22385" actId="20577"/>
          <ac:spMkLst>
            <pc:docMk/>
            <pc:sldMk cId="2569976355" sldId="475"/>
            <ac:spMk id="139" creationId="{197EAF32-DB63-4C6F-85EE-159415564D9E}"/>
          </ac:spMkLst>
        </pc:spChg>
        <pc:spChg chg="mod">
          <ac:chgData name="Gaiye Zhou" userId="57624dc8-72d9-4103-85d2-3bb69491f2d7" providerId="ADAL" clId="{CAF7940B-39B8-445E-984B-99E1A44C3CD7}" dt="2018-07-25T03:33:27.159" v="21979" actId="20577"/>
          <ac:spMkLst>
            <pc:docMk/>
            <pc:sldMk cId="2569976355" sldId="475"/>
            <ac:spMk id="142" creationId="{2F560BD9-C1A8-46E9-8AF0-06403E4D57C0}"/>
          </ac:spMkLst>
        </pc:spChg>
        <pc:spChg chg="add del mod">
          <ac:chgData name="Gaiye Zhou" userId="57624dc8-72d9-4103-85d2-3bb69491f2d7" providerId="ADAL" clId="{CAF7940B-39B8-445E-984B-99E1A44C3CD7}" dt="2018-07-24T15:15:09.560" v="18965" actId="478"/>
          <ac:spMkLst>
            <pc:docMk/>
            <pc:sldMk cId="2569976355" sldId="475"/>
            <ac:spMk id="143" creationId="{49D42B64-F109-40CA-8CFD-5EB1EE0CC319}"/>
          </ac:spMkLst>
        </pc:spChg>
        <pc:spChg chg="add mod">
          <ac:chgData name="Gaiye Zhou" userId="57624dc8-72d9-4103-85d2-3bb69491f2d7" providerId="ADAL" clId="{CAF7940B-39B8-445E-984B-99E1A44C3CD7}" dt="2018-07-25T03:53:25.769" v="22316" actId="255"/>
          <ac:spMkLst>
            <pc:docMk/>
            <pc:sldMk cId="2569976355" sldId="475"/>
            <ac:spMk id="143" creationId="{6E4944E4-2FB4-476F-B877-891DCF284826}"/>
          </ac:spMkLst>
        </pc:spChg>
        <pc:spChg chg="add mod">
          <ac:chgData name="Gaiye Zhou" userId="57624dc8-72d9-4103-85d2-3bb69491f2d7" providerId="ADAL" clId="{CAF7940B-39B8-445E-984B-99E1A44C3CD7}" dt="2018-07-25T03:45:29.141" v="22240" actId="1038"/>
          <ac:spMkLst>
            <pc:docMk/>
            <pc:sldMk cId="2569976355" sldId="475"/>
            <ac:spMk id="144" creationId="{7F0E5409-E11D-472C-B8CF-79C221E6DCE8}"/>
          </ac:spMkLst>
        </pc:spChg>
        <pc:spChg chg="add mod">
          <ac:chgData name="Gaiye Zhou" userId="57624dc8-72d9-4103-85d2-3bb69491f2d7" providerId="ADAL" clId="{CAF7940B-39B8-445E-984B-99E1A44C3CD7}" dt="2018-07-25T03:45:29.141" v="22240" actId="1038"/>
          <ac:spMkLst>
            <pc:docMk/>
            <pc:sldMk cId="2569976355" sldId="475"/>
            <ac:spMk id="145" creationId="{48029B96-FC9E-43D9-AAB9-F819AF9D801F}"/>
          </ac:spMkLst>
        </pc:spChg>
        <pc:spChg chg="add mod">
          <ac:chgData name="Gaiye Zhou" userId="57624dc8-72d9-4103-85d2-3bb69491f2d7" providerId="ADAL" clId="{CAF7940B-39B8-445E-984B-99E1A44C3CD7}" dt="2018-07-24T15:48:28.620" v="19609" actId="1035"/>
          <ac:spMkLst>
            <pc:docMk/>
            <pc:sldMk cId="2569976355" sldId="475"/>
            <ac:spMk id="148" creationId="{9B32BFD2-E3A1-48D9-825D-4988C25E155E}"/>
          </ac:spMkLst>
        </pc:spChg>
        <pc:spChg chg="add mod">
          <ac:chgData name="Gaiye Zhou" userId="57624dc8-72d9-4103-85d2-3bb69491f2d7" providerId="ADAL" clId="{CAF7940B-39B8-445E-984B-99E1A44C3CD7}" dt="2018-07-24T15:48:28.620" v="19609" actId="1035"/>
          <ac:spMkLst>
            <pc:docMk/>
            <pc:sldMk cId="2569976355" sldId="475"/>
            <ac:spMk id="149" creationId="{DD68B767-1281-4142-8860-B800D1B2240B}"/>
          </ac:spMkLst>
        </pc:spChg>
        <pc:spChg chg="mod">
          <ac:chgData name="Gaiye Zhou" userId="57624dc8-72d9-4103-85d2-3bb69491f2d7" providerId="ADAL" clId="{CAF7940B-39B8-445E-984B-99E1A44C3CD7}" dt="2018-07-25T03:45:29.141" v="22240" actId="1038"/>
          <ac:spMkLst>
            <pc:docMk/>
            <pc:sldMk cId="2569976355" sldId="475"/>
            <ac:spMk id="170" creationId="{AFD172CF-022C-4DB1-A84C-8660F8AB1F0B}"/>
          </ac:spMkLst>
        </pc:spChg>
        <pc:spChg chg="add mod">
          <ac:chgData name="Gaiye Zhou" userId="57624dc8-72d9-4103-85d2-3bb69491f2d7" providerId="ADAL" clId="{CAF7940B-39B8-445E-984B-99E1A44C3CD7}" dt="2018-07-24T15:48:38.833" v="19634" actId="1035"/>
          <ac:spMkLst>
            <pc:docMk/>
            <pc:sldMk cId="2569976355" sldId="475"/>
            <ac:spMk id="171" creationId="{07E47029-FC9B-45C5-8C97-8835AACDADBC}"/>
          </ac:spMkLst>
        </pc:spChg>
        <pc:spChg chg="mod">
          <ac:chgData name="Gaiye Zhou" userId="57624dc8-72d9-4103-85d2-3bb69491f2d7" providerId="ADAL" clId="{CAF7940B-39B8-445E-984B-99E1A44C3CD7}" dt="2018-07-25T03:45:29.141" v="22240" actId="1038"/>
          <ac:spMkLst>
            <pc:docMk/>
            <pc:sldMk cId="2569976355" sldId="475"/>
            <ac:spMk id="172" creationId="{70F8A992-67CE-4E42-8F65-7BAA3A1CADF8}"/>
          </ac:spMkLst>
        </pc:spChg>
        <pc:spChg chg="add mod">
          <ac:chgData name="Gaiye Zhou" userId="57624dc8-72d9-4103-85d2-3bb69491f2d7" providerId="ADAL" clId="{CAF7940B-39B8-445E-984B-99E1A44C3CD7}" dt="2018-07-25T03:45:29.141" v="22240" actId="1038"/>
          <ac:spMkLst>
            <pc:docMk/>
            <pc:sldMk cId="2569976355" sldId="475"/>
            <ac:spMk id="173" creationId="{574C7405-8EB1-491F-8FD2-8DB2E0F5B70B}"/>
          </ac:spMkLst>
        </pc:spChg>
        <pc:spChg chg="add del mod">
          <ac:chgData name="Gaiye Zhou" userId="57624dc8-72d9-4103-85d2-3bb69491f2d7" providerId="ADAL" clId="{CAF7940B-39B8-445E-984B-99E1A44C3CD7}" dt="2018-07-24T15:26:39.578" v="19245" actId="478"/>
          <ac:spMkLst>
            <pc:docMk/>
            <pc:sldMk cId="2569976355" sldId="475"/>
            <ac:spMk id="174" creationId="{7FEC8584-15FA-40D6-BF17-D4A5DBA6B575}"/>
          </ac:spMkLst>
        </pc:spChg>
        <pc:spChg chg="mod">
          <ac:chgData name="Gaiye Zhou" userId="57624dc8-72d9-4103-85d2-3bb69491f2d7" providerId="ADAL" clId="{CAF7940B-39B8-445E-984B-99E1A44C3CD7}" dt="2018-07-25T04:03:10.880" v="22415" actId="20577"/>
          <ac:spMkLst>
            <pc:docMk/>
            <pc:sldMk cId="2569976355" sldId="475"/>
            <ac:spMk id="176" creationId="{45B95458-B53B-4C5D-8180-E2AAB79634CA}"/>
          </ac:spMkLst>
        </pc:spChg>
        <pc:spChg chg="mod">
          <ac:chgData name="Gaiye Zhou" userId="57624dc8-72d9-4103-85d2-3bb69491f2d7" providerId="ADAL" clId="{CAF7940B-39B8-445E-984B-99E1A44C3CD7}" dt="2018-07-25T04:02:50.135" v="22387" actId="20577"/>
          <ac:spMkLst>
            <pc:docMk/>
            <pc:sldMk cId="2569976355" sldId="475"/>
            <ac:spMk id="190" creationId="{9CCFA5AE-F2FB-4B32-9C14-924CEE3B6983}"/>
          </ac:spMkLst>
        </pc:spChg>
        <pc:spChg chg="add del mod">
          <ac:chgData name="Gaiye Zhou" userId="57624dc8-72d9-4103-85d2-3bb69491f2d7" providerId="ADAL" clId="{CAF7940B-39B8-445E-984B-99E1A44C3CD7}" dt="2018-07-24T15:39:07.076" v="19426" actId="478"/>
          <ac:spMkLst>
            <pc:docMk/>
            <pc:sldMk cId="2569976355" sldId="475"/>
            <ac:spMk id="190" creationId="{AD6ECB20-A76F-4EA1-B24B-1E99367B1607}"/>
          </ac:spMkLst>
        </pc:spChg>
        <pc:spChg chg="add mod">
          <ac:chgData name="Gaiye Zhou" userId="57624dc8-72d9-4103-85d2-3bb69491f2d7" providerId="ADAL" clId="{CAF7940B-39B8-445E-984B-99E1A44C3CD7}" dt="2018-07-24T15:52:34.546" v="19739" actId="1035"/>
          <ac:spMkLst>
            <pc:docMk/>
            <pc:sldMk cId="2569976355" sldId="475"/>
            <ac:spMk id="191" creationId="{EE0AD390-9AF9-47C8-8A59-EB284B67DBF1}"/>
          </ac:spMkLst>
        </pc:spChg>
        <pc:spChg chg="mod">
          <ac:chgData name="Gaiye Zhou" userId="57624dc8-72d9-4103-85d2-3bb69491f2d7" providerId="ADAL" clId="{CAF7940B-39B8-445E-984B-99E1A44C3CD7}" dt="2018-07-25T04:02:05.088" v="22362" actId="20577"/>
          <ac:spMkLst>
            <pc:docMk/>
            <pc:sldMk cId="2569976355" sldId="475"/>
            <ac:spMk id="197" creationId="{BDCB97D8-7229-48E7-A995-C89A6A6255C4}"/>
          </ac:spMkLst>
        </pc:spChg>
        <pc:spChg chg="del mod">
          <ac:chgData name="Gaiye Zhou" userId="57624dc8-72d9-4103-85d2-3bb69491f2d7" providerId="ADAL" clId="{CAF7940B-39B8-445E-984B-99E1A44C3CD7}" dt="2018-07-24T15:04:20.126" v="18828" actId="478"/>
          <ac:spMkLst>
            <pc:docMk/>
            <pc:sldMk cId="2569976355" sldId="475"/>
            <ac:spMk id="197" creationId="{FC1A5860-DD62-43F3-A1B2-4C5412096082}"/>
          </ac:spMkLst>
        </pc:spChg>
        <pc:spChg chg="add del mod">
          <ac:chgData name="Gaiye Zhou" userId="57624dc8-72d9-4103-85d2-3bb69491f2d7" providerId="ADAL" clId="{CAF7940B-39B8-445E-984B-99E1A44C3CD7}" dt="2018-07-24T15:36:45.186" v="19421" actId="478"/>
          <ac:spMkLst>
            <pc:docMk/>
            <pc:sldMk cId="2569976355" sldId="475"/>
            <ac:spMk id="199" creationId="{04DCF8E2-DDFF-450B-81A6-B807F1E2D9E4}"/>
          </ac:spMkLst>
        </pc:spChg>
        <pc:spChg chg="add del">
          <ac:chgData name="Gaiye Zhou" userId="57624dc8-72d9-4103-85d2-3bb69491f2d7" providerId="ADAL" clId="{CAF7940B-39B8-445E-984B-99E1A44C3CD7}" dt="2018-07-25T03:42:51.752" v="22219" actId="478"/>
          <ac:spMkLst>
            <pc:docMk/>
            <pc:sldMk cId="2569976355" sldId="475"/>
            <ac:spMk id="199" creationId="{E5EB02DE-5ECE-4929-AE45-BD689BE617FF}"/>
          </ac:spMkLst>
        </pc:spChg>
        <pc:spChg chg="add mod">
          <ac:chgData name="Gaiye Zhou" userId="57624dc8-72d9-4103-85d2-3bb69491f2d7" providerId="ADAL" clId="{CAF7940B-39B8-445E-984B-99E1A44C3CD7}" dt="2018-07-24T15:48:38.833" v="19634" actId="1035"/>
          <ac:spMkLst>
            <pc:docMk/>
            <pc:sldMk cId="2569976355" sldId="475"/>
            <ac:spMk id="200" creationId="{5DFCB12F-A5F5-4502-9A69-5272F0E0E312}"/>
          </ac:spMkLst>
        </pc:spChg>
        <pc:spChg chg="mod">
          <ac:chgData name="Gaiye Zhou" userId="57624dc8-72d9-4103-85d2-3bb69491f2d7" providerId="ADAL" clId="{CAF7940B-39B8-445E-984B-99E1A44C3CD7}" dt="2018-07-25T03:45:29.141" v="22240" actId="1038"/>
          <ac:spMkLst>
            <pc:docMk/>
            <pc:sldMk cId="2569976355" sldId="475"/>
            <ac:spMk id="201" creationId="{4B4783F8-1FD1-439F-B7A8-FC872EDF18EA}"/>
          </ac:spMkLst>
        </pc:spChg>
        <pc:spChg chg="mod">
          <ac:chgData name="Gaiye Zhou" userId="57624dc8-72d9-4103-85d2-3bb69491f2d7" providerId="ADAL" clId="{CAF7940B-39B8-445E-984B-99E1A44C3CD7}" dt="2018-07-25T03:45:29.141" v="22240" actId="1038"/>
          <ac:spMkLst>
            <pc:docMk/>
            <pc:sldMk cId="2569976355" sldId="475"/>
            <ac:spMk id="202" creationId="{24DA4F87-BB1F-455C-90BC-612293E0A966}"/>
          </ac:spMkLst>
        </pc:spChg>
        <pc:spChg chg="mod">
          <ac:chgData name="Gaiye Zhou" userId="57624dc8-72d9-4103-85d2-3bb69491f2d7" providerId="ADAL" clId="{CAF7940B-39B8-445E-984B-99E1A44C3CD7}" dt="2018-07-25T03:50:39.691" v="22307" actId="1076"/>
          <ac:spMkLst>
            <pc:docMk/>
            <pc:sldMk cId="2569976355" sldId="475"/>
            <ac:spMk id="204" creationId="{2860A4D5-0768-4F34-B043-DDCC9EE60C6F}"/>
          </ac:spMkLst>
        </pc:spChg>
        <pc:spChg chg="mod">
          <ac:chgData name="Gaiye Zhou" userId="57624dc8-72d9-4103-85d2-3bb69491f2d7" providerId="ADAL" clId="{CAF7940B-39B8-445E-984B-99E1A44C3CD7}" dt="2018-07-25T03:49:54.536" v="22301" actId="14100"/>
          <ac:spMkLst>
            <pc:docMk/>
            <pc:sldMk cId="2569976355" sldId="475"/>
            <ac:spMk id="205" creationId="{A19909D2-D009-4E95-855D-7475ED4A26DB}"/>
          </ac:spMkLst>
        </pc:spChg>
        <pc:spChg chg="mod">
          <ac:chgData name="Gaiye Zhou" userId="57624dc8-72d9-4103-85d2-3bb69491f2d7" providerId="ADAL" clId="{CAF7940B-39B8-445E-984B-99E1A44C3CD7}" dt="2018-07-25T03:50:14.798" v="22304" actId="1076"/>
          <ac:spMkLst>
            <pc:docMk/>
            <pc:sldMk cId="2569976355" sldId="475"/>
            <ac:spMk id="207" creationId="{F596F077-E380-400C-8F4B-EAEA0D07494C}"/>
          </ac:spMkLst>
        </pc:spChg>
        <pc:spChg chg="add del">
          <ac:chgData name="Gaiye Zhou" userId="57624dc8-72d9-4103-85d2-3bb69491f2d7" providerId="ADAL" clId="{CAF7940B-39B8-445E-984B-99E1A44C3CD7}" dt="2018-07-25T03:42:49.465" v="22218" actId="478"/>
          <ac:spMkLst>
            <pc:docMk/>
            <pc:sldMk cId="2569976355" sldId="475"/>
            <ac:spMk id="208" creationId="{02E52C9A-BF5A-409A-814E-D05D1DAFF699}"/>
          </ac:spMkLst>
        </pc:spChg>
        <pc:spChg chg="add del">
          <ac:chgData name="Gaiye Zhou" userId="57624dc8-72d9-4103-85d2-3bb69491f2d7" providerId="ADAL" clId="{CAF7940B-39B8-445E-984B-99E1A44C3CD7}" dt="2018-07-25T03:40:28.765" v="22194"/>
          <ac:spMkLst>
            <pc:docMk/>
            <pc:sldMk cId="2569976355" sldId="475"/>
            <ac:spMk id="209" creationId="{5404DFE7-0C37-4C0A-A1F7-603AD6E7C9C2}"/>
          </ac:spMkLst>
        </pc:spChg>
        <pc:spChg chg="del mod">
          <ac:chgData name="Gaiye Zhou" userId="57624dc8-72d9-4103-85d2-3bb69491f2d7" providerId="ADAL" clId="{CAF7940B-39B8-445E-984B-99E1A44C3CD7}" dt="2018-07-24T15:24:29.380" v="19186" actId="478"/>
          <ac:spMkLst>
            <pc:docMk/>
            <pc:sldMk cId="2569976355" sldId="475"/>
            <ac:spMk id="209" creationId="{F04BE827-471C-43DE-919E-9CAC50CCCDD6}"/>
          </ac:spMkLst>
        </pc:spChg>
        <pc:spChg chg="mod">
          <ac:chgData name="Gaiye Zhou" userId="57624dc8-72d9-4103-85d2-3bb69491f2d7" providerId="ADAL" clId="{CAF7940B-39B8-445E-984B-99E1A44C3CD7}" dt="2018-07-25T17:56:23.794" v="22417" actId="1076"/>
          <ac:spMkLst>
            <pc:docMk/>
            <pc:sldMk cId="2569976355" sldId="475"/>
            <ac:spMk id="211" creationId="{CBB1790F-AD24-407A-917F-D21FA0935473}"/>
          </ac:spMkLst>
        </pc:spChg>
        <pc:spChg chg="add del mod">
          <ac:chgData name="Gaiye Zhou" userId="57624dc8-72d9-4103-85d2-3bb69491f2d7" providerId="ADAL" clId="{CAF7940B-39B8-445E-984B-99E1A44C3CD7}" dt="2018-07-25T03:31:22.838" v="21903" actId="478"/>
          <ac:spMkLst>
            <pc:docMk/>
            <pc:sldMk cId="2569976355" sldId="475"/>
            <ac:spMk id="213" creationId="{C793DE43-8677-49E7-A906-C2BF361E82D1}"/>
          </ac:spMkLst>
        </pc:spChg>
        <pc:spChg chg="mod">
          <ac:chgData name="Gaiye Zhou" userId="57624dc8-72d9-4103-85d2-3bb69491f2d7" providerId="ADAL" clId="{CAF7940B-39B8-445E-984B-99E1A44C3CD7}" dt="2018-07-25T03:32:39.725" v="21947" actId="14100"/>
          <ac:spMkLst>
            <pc:docMk/>
            <pc:sldMk cId="2569976355" sldId="475"/>
            <ac:spMk id="214" creationId="{E70F241B-4802-4325-AE2E-FAF83784E34D}"/>
          </ac:spMkLst>
        </pc:spChg>
        <pc:spChg chg="del mod">
          <ac:chgData name="Gaiye Zhou" userId="57624dc8-72d9-4103-85d2-3bb69491f2d7" providerId="ADAL" clId="{CAF7940B-39B8-445E-984B-99E1A44C3CD7}" dt="2018-07-24T15:06:11.824" v="18861" actId="478"/>
          <ac:spMkLst>
            <pc:docMk/>
            <pc:sldMk cId="2569976355" sldId="475"/>
            <ac:spMk id="215" creationId="{53B3F55A-774D-492D-AEEC-3870E4077ABC}"/>
          </ac:spMkLst>
        </pc:spChg>
        <pc:spChg chg="del topLvl">
          <ac:chgData name="Gaiye Zhou" userId="57624dc8-72d9-4103-85d2-3bb69491f2d7" providerId="ADAL" clId="{CAF7940B-39B8-445E-984B-99E1A44C3CD7}" dt="2018-07-25T03:40:39.390" v="22197" actId="478"/>
          <ac:spMkLst>
            <pc:docMk/>
            <pc:sldMk cId="2569976355" sldId="475"/>
            <ac:spMk id="216" creationId="{97274337-923B-4429-8C2A-7AA794D1AB16}"/>
          </ac:spMkLst>
        </pc:spChg>
        <pc:spChg chg="del">
          <ac:chgData name="Gaiye Zhou" userId="57624dc8-72d9-4103-85d2-3bb69491f2d7" providerId="ADAL" clId="{CAF7940B-39B8-445E-984B-99E1A44C3CD7}" dt="2018-07-24T15:02:56.707" v="18816" actId="478"/>
          <ac:spMkLst>
            <pc:docMk/>
            <pc:sldMk cId="2569976355" sldId="475"/>
            <ac:spMk id="216" creationId="{FFC0AE47-AE29-41D8-B543-249F11896249}"/>
          </ac:spMkLst>
        </pc:spChg>
        <pc:spChg chg="mod">
          <ac:chgData name="Gaiye Zhou" userId="57624dc8-72d9-4103-85d2-3bb69491f2d7" providerId="ADAL" clId="{CAF7940B-39B8-445E-984B-99E1A44C3CD7}" dt="2018-07-24T15:11:42.128" v="18914" actId="1076"/>
          <ac:spMkLst>
            <pc:docMk/>
            <pc:sldMk cId="2569976355" sldId="475"/>
            <ac:spMk id="217" creationId="{A4B93891-859E-4C40-AD1E-85C3DFF1370A}"/>
          </ac:spMkLst>
        </pc:spChg>
        <pc:spChg chg="mod">
          <ac:chgData name="Gaiye Zhou" userId="57624dc8-72d9-4103-85d2-3bb69491f2d7" providerId="ADAL" clId="{CAF7940B-39B8-445E-984B-99E1A44C3CD7}" dt="2018-07-24T15:48:28.620" v="19609" actId="1035"/>
          <ac:spMkLst>
            <pc:docMk/>
            <pc:sldMk cId="2569976355" sldId="475"/>
            <ac:spMk id="218" creationId="{AC03D426-ED98-4C1F-BEBA-CF163DC6545D}"/>
          </ac:spMkLst>
        </pc:spChg>
        <pc:spChg chg="mod">
          <ac:chgData name="Gaiye Zhou" userId="57624dc8-72d9-4103-85d2-3bb69491f2d7" providerId="ADAL" clId="{CAF7940B-39B8-445E-984B-99E1A44C3CD7}" dt="2018-07-24T15:48:28.620" v="19609" actId="1035"/>
          <ac:spMkLst>
            <pc:docMk/>
            <pc:sldMk cId="2569976355" sldId="475"/>
            <ac:spMk id="219" creationId="{BB7C4F42-5336-434B-8FFF-13E194A5F3B5}"/>
          </ac:spMkLst>
        </pc:spChg>
        <pc:spChg chg="add del mod">
          <ac:chgData name="Gaiye Zhou" userId="57624dc8-72d9-4103-85d2-3bb69491f2d7" providerId="ADAL" clId="{CAF7940B-39B8-445E-984B-99E1A44C3CD7}" dt="2018-07-24T15:42:56.075" v="19501" actId="478"/>
          <ac:spMkLst>
            <pc:docMk/>
            <pc:sldMk cId="2569976355" sldId="475"/>
            <ac:spMk id="220" creationId="{66F73930-DF3D-445C-B3CC-E5CBE774235E}"/>
          </ac:spMkLst>
        </pc:spChg>
        <pc:spChg chg="add mod">
          <ac:chgData name="Gaiye Zhou" userId="57624dc8-72d9-4103-85d2-3bb69491f2d7" providerId="ADAL" clId="{CAF7940B-39B8-445E-984B-99E1A44C3CD7}" dt="2018-07-24T15:49:10.301" v="19650" actId="14100"/>
          <ac:spMkLst>
            <pc:docMk/>
            <pc:sldMk cId="2569976355" sldId="475"/>
            <ac:spMk id="221" creationId="{6EF02887-6965-443D-A18D-50715CE2AE8E}"/>
          </ac:spMkLst>
        </pc:spChg>
        <pc:spChg chg="add mod">
          <ac:chgData name="Gaiye Zhou" userId="57624dc8-72d9-4103-85d2-3bb69491f2d7" providerId="ADAL" clId="{CAF7940B-39B8-445E-984B-99E1A44C3CD7}" dt="2018-07-25T03:45:43.551" v="22246" actId="1038"/>
          <ac:spMkLst>
            <pc:docMk/>
            <pc:sldMk cId="2569976355" sldId="475"/>
            <ac:spMk id="222" creationId="{ED6E9931-82E9-4F23-B8C8-2D3C9B0A2764}"/>
          </ac:spMkLst>
        </pc:spChg>
        <pc:spChg chg="mod">
          <ac:chgData name="Gaiye Zhou" userId="57624dc8-72d9-4103-85d2-3bb69491f2d7" providerId="ADAL" clId="{CAF7940B-39B8-445E-984B-99E1A44C3CD7}" dt="2018-07-25T03:41:16.008" v="22201" actId="20577"/>
          <ac:spMkLst>
            <pc:docMk/>
            <pc:sldMk cId="2569976355" sldId="475"/>
            <ac:spMk id="224" creationId="{07C31E70-1B2D-45D6-BB6E-D9224284F923}"/>
          </ac:spMkLst>
        </pc:spChg>
        <pc:spChg chg="mod">
          <ac:chgData name="Gaiye Zhou" userId="57624dc8-72d9-4103-85d2-3bb69491f2d7" providerId="ADAL" clId="{CAF7940B-39B8-445E-984B-99E1A44C3CD7}" dt="2018-07-25T03:56:30.510" v="22352" actId="20577"/>
          <ac:spMkLst>
            <pc:docMk/>
            <pc:sldMk cId="2569976355" sldId="475"/>
            <ac:spMk id="229" creationId="{82143EBB-B025-46D5-A3D1-B8D95D149239}"/>
          </ac:spMkLst>
        </pc:spChg>
        <pc:grpChg chg="mod">
          <ac:chgData name="Gaiye Zhou" userId="57624dc8-72d9-4103-85d2-3bb69491f2d7" providerId="ADAL" clId="{CAF7940B-39B8-445E-984B-99E1A44C3CD7}" dt="2018-07-24T15:48:38.833" v="19634" actId="1035"/>
          <ac:grpSpMkLst>
            <pc:docMk/>
            <pc:sldMk cId="2569976355" sldId="475"/>
            <ac:grpSpMk id="2" creationId="{1C5B9F8C-01A1-4C04-B2F0-0A64512F010E}"/>
          </ac:grpSpMkLst>
        </pc:grpChg>
        <pc:grpChg chg="mod">
          <ac:chgData name="Gaiye Zhou" userId="57624dc8-72d9-4103-85d2-3bb69491f2d7" providerId="ADAL" clId="{CAF7940B-39B8-445E-984B-99E1A44C3CD7}" dt="2018-07-24T15:11:42.128" v="18914" actId="1076"/>
          <ac:grpSpMkLst>
            <pc:docMk/>
            <pc:sldMk cId="2569976355" sldId="475"/>
            <ac:grpSpMk id="7" creationId="{410A6764-D20E-48B5-A27C-31FCD8155145}"/>
          </ac:grpSpMkLst>
        </pc:grpChg>
        <pc:grpChg chg="mod">
          <ac:chgData name="Gaiye Zhou" userId="57624dc8-72d9-4103-85d2-3bb69491f2d7" providerId="ADAL" clId="{CAF7940B-39B8-445E-984B-99E1A44C3CD7}" dt="2018-07-24T15:48:28.620" v="19609" actId="1035"/>
          <ac:grpSpMkLst>
            <pc:docMk/>
            <pc:sldMk cId="2569976355" sldId="475"/>
            <ac:grpSpMk id="47" creationId="{E59985EC-F41B-4067-9D75-966AED265220}"/>
          </ac:grpSpMkLst>
        </pc:grpChg>
        <pc:grpChg chg="mod">
          <ac:chgData name="Gaiye Zhou" userId="57624dc8-72d9-4103-85d2-3bb69491f2d7" providerId="ADAL" clId="{CAF7940B-39B8-445E-984B-99E1A44C3CD7}" dt="2018-07-25T03:37:56.981" v="22130" actId="14100"/>
          <ac:grpSpMkLst>
            <pc:docMk/>
            <pc:sldMk cId="2569976355" sldId="475"/>
            <ac:grpSpMk id="79" creationId="{C859902C-87D3-4A94-AD19-8D4CCAF805B0}"/>
          </ac:grpSpMkLst>
        </pc:grpChg>
        <pc:grpChg chg="add del mod">
          <ac:chgData name="Gaiye Zhou" userId="57624dc8-72d9-4103-85d2-3bb69491f2d7" providerId="ADAL" clId="{CAF7940B-39B8-445E-984B-99E1A44C3CD7}" dt="2018-07-25T03:39:57.058" v="22190" actId="478"/>
          <ac:grpSpMkLst>
            <pc:docMk/>
            <pc:sldMk cId="2569976355" sldId="475"/>
            <ac:grpSpMk id="80" creationId="{22CD51C9-8458-427A-8034-03068E5200C5}"/>
          </ac:grpSpMkLst>
        </pc:grpChg>
        <pc:grpChg chg="del mod topLvl">
          <ac:chgData name="Gaiye Zhou" userId="57624dc8-72d9-4103-85d2-3bb69491f2d7" providerId="ADAL" clId="{CAF7940B-39B8-445E-984B-99E1A44C3CD7}" dt="2018-07-25T03:39:53.867" v="22189" actId="478"/>
          <ac:grpSpMkLst>
            <pc:docMk/>
            <pc:sldMk cId="2569976355" sldId="475"/>
            <ac:grpSpMk id="82" creationId="{8F1EAC83-18E1-4B82-874A-2856587688AC}"/>
          </ac:grpSpMkLst>
        </pc:grpChg>
        <pc:grpChg chg="mod">
          <ac:chgData name="Gaiye Zhou" userId="57624dc8-72d9-4103-85d2-3bb69491f2d7" providerId="ADAL" clId="{CAF7940B-39B8-445E-984B-99E1A44C3CD7}" dt="2018-07-25T03:45:29.141" v="22240" actId="1038"/>
          <ac:grpSpMkLst>
            <pc:docMk/>
            <pc:sldMk cId="2569976355" sldId="475"/>
            <ac:grpSpMk id="110" creationId="{843EABBE-D1E5-40F3-865A-E4496F3789CE}"/>
          </ac:grpSpMkLst>
        </pc:grpChg>
        <pc:grpChg chg="add del mod">
          <ac:chgData name="Gaiye Zhou" userId="57624dc8-72d9-4103-85d2-3bb69491f2d7" providerId="ADAL" clId="{CAF7940B-39B8-445E-984B-99E1A44C3CD7}" dt="2018-07-24T15:09:30.254" v="18902" actId="478"/>
          <ac:grpSpMkLst>
            <pc:docMk/>
            <pc:sldMk cId="2569976355" sldId="475"/>
            <ac:grpSpMk id="131" creationId="{F08F6C0F-2840-4898-A122-540BBE5DF893}"/>
          </ac:grpSpMkLst>
        </pc:grpChg>
        <pc:grpChg chg="add del mod">
          <ac:chgData name="Gaiye Zhou" userId="57624dc8-72d9-4103-85d2-3bb69491f2d7" providerId="ADAL" clId="{CAF7940B-39B8-445E-984B-99E1A44C3CD7}" dt="2018-07-25T03:27:11.629" v="21827" actId="478"/>
          <ac:grpSpMkLst>
            <pc:docMk/>
            <pc:sldMk cId="2569976355" sldId="475"/>
            <ac:grpSpMk id="132" creationId="{4FFE6600-6F09-434F-8317-AC0EDD1C7598}"/>
          </ac:grpSpMkLst>
        </pc:grpChg>
        <pc:grpChg chg="del mod topLvl">
          <ac:chgData name="Gaiye Zhou" userId="57624dc8-72d9-4103-85d2-3bb69491f2d7" providerId="ADAL" clId="{CAF7940B-39B8-445E-984B-99E1A44C3CD7}" dt="2018-07-25T03:39:49.003" v="22188" actId="478"/>
          <ac:grpSpMkLst>
            <pc:docMk/>
            <pc:sldMk cId="2569976355" sldId="475"/>
            <ac:grpSpMk id="134" creationId="{D497312B-46DA-446B-8D90-395B3F6D4251}"/>
          </ac:grpSpMkLst>
        </pc:grpChg>
        <pc:grpChg chg="mod">
          <ac:chgData name="Gaiye Zhou" userId="57624dc8-72d9-4103-85d2-3bb69491f2d7" providerId="ADAL" clId="{CAF7940B-39B8-445E-984B-99E1A44C3CD7}" dt="2018-07-24T15:48:38.833" v="19634" actId="1035"/>
          <ac:grpSpMkLst>
            <pc:docMk/>
            <pc:sldMk cId="2569976355" sldId="475"/>
            <ac:grpSpMk id="138" creationId="{24F2B1FB-1592-46A0-A140-6D319F6F5FBE}"/>
          </ac:grpSpMkLst>
        </pc:grpChg>
        <pc:grpChg chg="mod">
          <ac:chgData name="Gaiye Zhou" userId="57624dc8-72d9-4103-85d2-3bb69491f2d7" providerId="ADAL" clId="{CAF7940B-39B8-445E-984B-99E1A44C3CD7}" dt="2018-07-24T15:48:28.620" v="19609" actId="1035"/>
          <ac:grpSpMkLst>
            <pc:docMk/>
            <pc:sldMk cId="2569976355" sldId="475"/>
            <ac:grpSpMk id="153" creationId="{91D46990-BC05-470C-9710-0B497A92C9EF}"/>
          </ac:grpSpMkLst>
        </pc:grpChg>
        <pc:grpChg chg="mod">
          <ac:chgData name="Gaiye Zhou" userId="57624dc8-72d9-4103-85d2-3bb69491f2d7" providerId="ADAL" clId="{CAF7940B-39B8-445E-984B-99E1A44C3CD7}" dt="2018-07-24T15:48:28.620" v="19609" actId="1035"/>
          <ac:grpSpMkLst>
            <pc:docMk/>
            <pc:sldMk cId="2569976355" sldId="475"/>
            <ac:grpSpMk id="157" creationId="{77FFE308-9001-480D-A238-44189977AD33}"/>
          </ac:grpSpMkLst>
        </pc:grpChg>
        <pc:grpChg chg="mod">
          <ac:chgData name="Gaiye Zhou" userId="57624dc8-72d9-4103-85d2-3bb69491f2d7" providerId="ADAL" clId="{CAF7940B-39B8-445E-984B-99E1A44C3CD7}" dt="2018-07-24T15:48:38.833" v="19634" actId="1035"/>
          <ac:grpSpMkLst>
            <pc:docMk/>
            <pc:sldMk cId="2569976355" sldId="475"/>
            <ac:grpSpMk id="158" creationId="{E4C9FC0A-AA88-414D-A7BB-5F4DBE8F56AF}"/>
          </ac:grpSpMkLst>
        </pc:grpChg>
        <pc:grpChg chg="mod">
          <ac:chgData name="Gaiye Zhou" userId="57624dc8-72d9-4103-85d2-3bb69491f2d7" providerId="ADAL" clId="{CAF7940B-39B8-445E-984B-99E1A44C3CD7}" dt="2018-07-25T03:45:29.141" v="22240" actId="1038"/>
          <ac:grpSpMkLst>
            <pc:docMk/>
            <pc:sldMk cId="2569976355" sldId="475"/>
            <ac:grpSpMk id="163" creationId="{E33628B2-6316-4EA8-8A01-D33640DDE21D}"/>
          </ac:grpSpMkLst>
        </pc:grpChg>
        <pc:grpChg chg="add mod">
          <ac:chgData name="Gaiye Zhou" userId="57624dc8-72d9-4103-85d2-3bb69491f2d7" providerId="ADAL" clId="{CAF7940B-39B8-445E-984B-99E1A44C3CD7}" dt="2018-07-25T03:45:29.141" v="22240" actId="1038"/>
          <ac:grpSpMkLst>
            <pc:docMk/>
            <pc:sldMk cId="2569976355" sldId="475"/>
            <ac:grpSpMk id="174" creationId="{5FB529DF-A3B0-4999-A046-7B86296BA4EC}"/>
          </ac:grpSpMkLst>
        </pc:grpChg>
        <pc:grpChg chg="mod">
          <ac:chgData name="Gaiye Zhou" userId="57624dc8-72d9-4103-85d2-3bb69491f2d7" providerId="ADAL" clId="{CAF7940B-39B8-445E-984B-99E1A44C3CD7}" dt="2018-07-25T03:45:29.141" v="22240" actId="1038"/>
          <ac:grpSpMkLst>
            <pc:docMk/>
            <pc:sldMk cId="2569976355" sldId="475"/>
            <ac:grpSpMk id="175" creationId="{6F7B834B-CD41-4BC0-A107-4481750257C0}"/>
          </ac:grpSpMkLst>
        </pc:grpChg>
        <pc:grpChg chg="mod">
          <ac:chgData name="Gaiye Zhou" userId="57624dc8-72d9-4103-85d2-3bb69491f2d7" providerId="ADAL" clId="{CAF7940B-39B8-445E-984B-99E1A44C3CD7}" dt="2018-07-25T03:45:29.141" v="22240" actId="1038"/>
          <ac:grpSpMkLst>
            <pc:docMk/>
            <pc:sldMk cId="2569976355" sldId="475"/>
            <ac:grpSpMk id="180" creationId="{03FBAFDE-E64A-4D71-A010-B3CC3EB90D4F}"/>
          </ac:grpSpMkLst>
        </pc:grpChg>
        <pc:grpChg chg="mod">
          <ac:chgData name="Gaiye Zhou" userId="57624dc8-72d9-4103-85d2-3bb69491f2d7" providerId="ADAL" clId="{CAF7940B-39B8-445E-984B-99E1A44C3CD7}" dt="2018-07-25T03:45:29.141" v="22240" actId="1038"/>
          <ac:grpSpMkLst>
            <pc:docMk/>
            <pc:sldMk cId="2569976355" sldId="475"/>
            <ac:grpSpMk id="185" creationId="{8C41C2B7-3576-4B1E-BEA6-3E0F22B5C813}"/>
          </ac:grpSpMkLst>
        </pc:grpChg>
        <pc:grpChg chg="mod">
          <ac:chgData name="Gaiye Zhou" userId="57624dc8-72d9-4103-85d2-3bb69491f2d7" providerId="ADAL" clId="{CAF7940B-39B8-445E-984B-99E1A44C3CD7}" dt="2018-07-25T03:33:43.455" v="21980"/>
          <ac:grpSpMkLst>
            <pc:docMk/>
            <pc:sldMk cId="2569976355" sldId="475"/>
            <ac:grpSpMk id="195" creationId="{C89C884E-73B8-423C-8528-E9C4724B3475}"/>
          </ac:grpSpMkLst>
        </pc:grpChg>
        <pc:grpChg chg="add del mod">
          <ac:chgData name="Gaiye Zhou" userId="57624dc8-72d9-4103-85d2-3bb69491f2d7" providerId="ADAL" clId="{CAF7940B-39B8-445E-984B-99E1A44C3CD7}" dt="2018-07-25T03:49:06.399" v="22291" actId="14100"/>
          <ac:grpSpMkLst>
            <pc:docMk/>
            <pc:sldMk cId="2569976355" sldId="475"/>
            <ac:grpSpMk id="203" creationId="{A6EB9000-7965-4416-893D-E9230B87F18F}"/>
          </ac:grpSpMkLst>
        </pc:grpChg>
        <pc:grpChg chg="mod">
          <ac:chgData name="Gaiye Zhou" userId="57624dc8-72d9-4103-85d2-3bb69491f2d7" providerId="ADAL" clId="{CAF7940B-39B8-445E-984B-99E1A44C3CD7}" dt="2018-07-25T20:30:46.671" v="22513" actId="1076"/>
          <ac:grpSpMkLst>
            <pc:docMk/>
            <pc:sldMk cId="2569976355" sldId="475"/>
            <ac:grpSpMk id="210" creationId="{B84B13B2-A5C7-4E4C-8CC2-79682D804028}"/>
          </ac:grpSpMkLst>
        </pc:grpChg>
        <pc:grpChg chg="add del">
          <ac:chgData name="Gaiye Zhou" userId="57624dc8-72d9-4103-85d2-3bb69491f2d7" providerId="ADAL" clId="{CAF7940B-39B8-445E-984B-99E1A44C3CD7}" dt="2018-07-25T03:31:22.838" v="21903" actId="478"/>
          <ac:grpSpMkLst>
            <pc:docMk/>
            <pc:sldMk cId="2569976355" sldId="475"/>
            <ac:grpSpMk id="212" creationId="{D86D04E7-CB48-4772-B426-56D5081C2A66}"/>
          </ac:grpSpMkLst>
        </pc:grpChg>
        <pc:grpChg chg="add del mod">
          <ac:chgData name="Gaiye Zhou" userId="57624dc8-72d9-4103-85d2-3bb69491f2d7" providerId="ADAL" clId="{CAF7940B-39B8-445E-984B-99E1A44C3CD7}" dt="2018-07-25T03:40:39.390" v="22197" actId="478"/>
          <ac:grpSpMkLst>
            <pc:docMk/>
            <pc:sldMk cId="2569976355" sldId="475"/>
            <ac:grpSpMk id="215" creationId="{E945C2AA-03C6-49C3-93D5-7F4057FDC786}"/>
          </ac:grpSpMkLst>
        </pc:grpChg>
        <pc:grpChg chg="mod topLvl">
          <ac:chgData name="Gaiye Zhou" userId="57624dc8-72d9-4103-85d2-3bb69491f2d7" providerId="ADAL" clId="{CAF7940B-39B8-445E-984B-99E1A44C3CD7}" dt="2018-07-25T03:41:31.661" v="22202" actId="1076"/>
          <ac:grpSpMkLst>
            <pc:docMk/>
            <pc:sldMk cId="2569976355" sldId="475"/>
            <ac:grpSpMk id="220" creationId="{2CF67C24-B2A6-4517-A446-05D5F4919E9A}"/>
          </ac:grpSpMkLst>
        </pc:grpChg>
        <pc:grpChg chg="add mod">
          <ac:chgData name="Gaiye Zhou" userId="57624dc8-72d9-4103-85d2-3bb69491f2d7" providerId="ADAL" clId="{CAF7940B-39B8-445E-984B-99E1A44C3CD7}" dt="2018-07-25T03:41:07.280" v="22200" actId="1076"/>
          <ac:grpSpMkLst>
            <pc:docMk/>
            <pc:sldMk cId="2569976355" sldId="475"/>
            <ac:grpSpMk id="225" creationId="{4EDABD83-E07C-404A-A543-81BB73F9E519}"/>
          </ac:grpSpMkLst>
        </pc:grpChg>
        <pc:grpChg chg="add del mod">
          <ac:chgData name="Gaiye Zhou" userId="57624dc8-72d9-4103-85d2-3bb69491f2d7" providerId="ADAL" clId="{CAF7940B-39B8-445E-984B-99E1A44C3CD7}" dt="2018-07-25T03:56:49.475" v="22353" actId="478"/>
          <ac:grpSpMkLst>
            <pc:docMk/>
            <pc:sldMk cId="2569976355" sldId="475"/>
            <ac:grpSpMk id="228" creationId="{E43364AD-6954-4CCA-8BB1-25FC1E2CD429}"/>
          </ac:grpSpMkLst>
        </pc:grpChg>
        <pc:grpChg chg="mod">
          <ac:chgData name="Gaiye Zhou" userId="57624dc8-72d9-4103-85d2-3bb69491f2d7" providerId="ADAL" clId="{CAF7940B-39B8-445E-984B-99E1A44C3CD7}" dt="2018-07-25T03:56:09.149" v="22325"/>
          <ac:grpSpMkLst>
            <pc:docMk/>
            <pc:sldMk cId="2569976355" sldId="475"/>
            <ac:grpSpMk id="230" creationId="{DF79AC64-DDDB-4748-BA83-EBC0D6CBFD38}"/>
          </ac:grpSpMkLst>
        </pc:grpChg>
        <pc:graphicFrameChg chg="add del mod modGraphic">
          <ac:chgData name="Gaiye Zhou" userId="57624dc8-72d9-4103-85d2-3bb69491f2d7" providerId="ADAL" clId="{CAF7940B-39B8-445E-984B-99E1A44C3CD7}" dt="2018-07-25T20:32:28.602" v="22514" actId="478"/>
          <ac:graphicFrameMkLst>
            <pc:docMk/>
            <pc:sldMk cId="2569976355" sldId="475"/>
            <ac:graphicFrameMk id="29" creationId="{0AF9FF4D-BC9A-44BA-886E-DC63739B6E93}"/>
          </ac:graphicFrameMkLst>
        </pc:graphicFrameChg>
        <pc:picChg chg="mod">
          <ac:chgData name="Gaiye Zhou" userId="57624dc8-72d9-4103-85d2-3bb69491f2d7" providerId="ADAL" clId="{CAF7940B-39B8-445E-984B-99E1A44C3CD7}" dt="2018-07-25T03:45:29.141" v="22240" actId="1038"/>
          <ac:picMkLst>
            <pc:docMk/>
            <pc:sldMk cId="2569976355" sldId="475"/>
            <ac:picMk id="120" creationId="{BC304B81-EEDE-44F9-A83A-622FA9377968}"/>
          </ac:picMkLst>
        </pc:picChg>
        <pc:picChg chg="add del mod">
          <ac:chgData name="Gaiye Zhou" userId="57624dc8-72d9-4103-85d2-3bb69491f2d7" providerId="ADAL" clId="{CAF7940B-39B8-445E-984B-99E1A44C3CD7}" dt="2018-07-24T15:18:48.881" v="19026" actId="478"/>
          <ac:picMkLst>
            <pc:docMk/>
            <pc:sldMk cId="2569976355" sldId="475"/>
            <ac:picMk id="125" creationId="{B7FC79CF-EBF7-4128-B430-C15DEDB9DD1A}"/>
          </ac:picMkLst>
        </pc:picChg>
        <pc:picChg chg="add mod">
          <ac:chgData name="Gaiye Zhou" userId="57624dc8-72d9-4103-85d2-3bb69491f2d7" providerId="ADAL" clId="{CAF7940B-39B8-445E-984B-99E1A44C3CD7}" dt="2018-07-24T15:48:28.620" v="19609" actId="1035"/>
          <ac:picMkLst>
            <pc:docMk/>
            <pc:sldMk cId="2569976355" sldId="475"/>
            <ac:picMk id="127" creationId="{CE43D812-98B3-4F39-AA77-BCEBCB5DEAF6}"/>
          </ac:picMkLst>
        </pc:picChg>
        <pc:picChg chg="add del mod">
          <ac:chgData name="Gaiye Zhou" userId="57624dc8-72d9-4103-85d2-3bb69491f2d7" providerId="ADAL" clId="{CAF7940B-39B8-445E-984B-99E1A44C3CD7}" dt="2018-07-24T15:09:30.254" v="18902" actId="478"/>
          <ac:picMkLst>
            <pc:docMk/>
            <pc:sldMk cId="2569976355" sldId="475"/>
            <ac:picMk id="137" creationId="{632F99A3-72EB-4DEC-BB1E-669C3198E9C4}"/>
          </ac:picMkLst>
        </pc:picChg>
        <pc:picChg chg="add mod">
          <ac:chgData name="Gaiye Zhou" userId="57624dc8-72d9-4103-85d2-3bb69491f2d7" providerId="ADAL" clId="{CAF7940B-39B8-445E-984B-99E1A44C3CD7}" dt="2018-07-25T03:45:29.141" v="22240" actId="1038"/>
          <ac:picMkLst>
            <pc:docMk/>
            <pc:sldMk cId="2569976355" sldId="475"/>
            <ac:picMk id="146" creationId="{494AE1B0-9613-4BF4-97DB-C004AE225653}"/>
          </ac:picMkLst>
        </pc:picChg>
        <pc:picChg chg="add del mod">
          <ac:chgData name="Gaiye Zhou" userId="57624dc8-72d9-4103-85d2-3bb69491f2d7" providerId="ADAL" clId="{CAF7940B-39B8-445E-984B-99E1A44C3CD7}" dt="2018-07-24T15:28:32.189" v="19290" actId="478"/>
          <ac:picMkLst>
            <pc:docMk/>
            <pc:sldMk cId="2569976355" sldId="475"/>
            <ac:picMk id="146" creationId="{DEE41D83-B8A7-4C50-B87B-BF6BF02CB992}"/>
          </ac:picMkLst>
        </pc:picChg>
        <pc:picChg chg="add mod">
          <ac:chgData name="Gaiye Zhou" userId="57624dc8-72d9-4103-85d2-3bb69491f2d7" providerId="ADAL" clId="{CAF7940B-39B8-445E-984B-99E1A44C3CD7}" dt="2018-07-24T15:52:34.546" v="19739" actId="1035"/>
          <ac:picMkLst>
            <pc:docMk/>
            <pc:sldMk cId="2569976355" sldId="475"/>
            <ac:picMk id="147" creationId="{1ADFAA2D-0904-414E-B12D-9257F7D1FFA9}"/>
          </ac:picMkLst>
        </pc:picChg>
        <pc:picChg chg="add del mod">
          <ac:chgData name="Gaiye Zhou" userId="57624dc8-72d9-4103-85d2-3bb69491f2d7" providerId="ADAL" clId="{CAF7940B-39B8-445E-984B-99E1A44C3CD7}" dt="2018-07-24T15:26:37.298" v="19244" actId="478"/>
          <ac:picMkLst>
            <pc:docMk/>
            <pc:sldMk cId="2569976355" sldId="475"/>
            <ac:picMk id="173" creationId="{122E0392-275E-44C7-AF55-A1869FC02254}"/>
          </ac:picMkLst>
        </pc:picChg>
        <pc:picChg chg="add mod">
          <ac:chgData name="Gaiye Zhou" userId="57624dc8-72d9-4103-85d2-3bb69491f2d7" providerId="ADAL" clId="{CAF7940B-39B8-445E-984B-99E1A44C3CD7}" dt="2018-07-25T03:45:29.141" v="22240" actId="1038"/>
          <ac:picMkLst>
            <pc:docMk/>
            <pc:sldMk cId="2569976355" sldId="475"/>
            <ac:picMk id="192" creationId="{4094B04C-FC25-4E57-89B3-7350F7C93719}"/>
          </ac:picMkLst>
        </pc:picChg>
        <pc:picChg chg="add mod">
          <ac:chgData name="Gaiye Zhou" userId="57624dc8-72d9-4103-85d2-3bb69491f2d7" providerId="ADAL" clId="{CAF7940B-39B8-445E-984B-99E1A44C3CD7}" dt="2018-07-25T03:45:29.141" v="22240" actId="1038"/>
          <ac:picMkLst>
            <pc:docMk/>
            <pc:sldMk cId="2569976355" sldId="475"/>
            <ac:picMk id="193" creationId="{24C5718E-DCEC-41E6-A30B-2DF41B82A6DA}"/>
          </ac:picMkLst>
        </pc:picChg>
        <pc:picChg chg="add mod">
          <ac:chgData name="Gaiye Zhou" userId="57624dc8-72d9-4103-85d2-3bb69491f2d7" providerId="ADAL" clId="{CAF7940B-39B8-445E-984B-99E1A44C3CD7}" dt="2018-07-25T03:45:29.141" v="22240" actId="1038"/>
          <ac:picMkLst>
            <pc:docMk/>
            <pc:sldMk cId="2569976355" sldId="475"/>
            <ac:picMk id="194" creationId="{17E671A2-F598-443A-8192-30FE1E61DCCD}"/>
          </ac:picMkLst>
        </pc:picChg>
        <pc:picChg chg="del mod">
          <ac:chgData name="Gaiye Zhou" userId="57624dc8-72d9-4103-85d2-3bb69491f2d7" providerId="ADAL" clId="{CAF7940B-39B8-445E-984B-99E1A44C3CD7}" dt="2018-07-24T15:28:47.295" v="19296" actId="478"/>
          <ac:picMkLst>
            <pc:docMk/>
            <pc:sldMk cId="2569976355" sldId="475"/>
            <ac:picMk id="195" creationId="{C9651C8E-3360-437F-9816-2E79ED53DD37}"/>
          </ac:picMkLst>
        </pc:picChg>
        <pc:picChg chg="del mod">
          <ac:chgData name="Gaiye Zhou" userId="57624dc8-72d9-4103-85d2-3bb69491f2d7" providerId="ADAL" clId="{CAF7940B-39B8-445E-984B-99E1A44C3CD7}" dt="2018-07-24T15:28:41.129" v="19293" actId="478"/>
          <ac:picMkLst>
            <pc:docMk/>
            <pc:sldMk cId="2569976355" sldId="475"/>
            <ac:picMk id="196" creationId="{6A388199-3067-4F99-90B2-D47F680B2D08}"/>
          </ac:picMkLst>
        </pc:picChg>
        <pc:picChg chg="add mod">
          <ac:chgData name="Gaiye Zhou" userId="57624dc8-72d9-4103-85d2-3bb69491f2d7" providerId="ADAL" clId="{CAF7940B-39B8-445E-984B-99E1A44C3CD7}" dt="2018-07-24T15:48:38.833" v="19634" actId="1035"/>
          <ac:picMkLst>
            <pc:docMk/>
            <pc:sldMk cId="2569976355" sldId="475"/>
            <ac:picMk id="198" creationId="{52F26DBD-F409-4281-A493-D5CA750D3AC5}"/>
          </ac:picMkLst>
        </pc:picChg>
        <pc:picChg chg="mod">
          <ac:chgData name="Gaiye Zhou" userId="57624dc8-72d9-4103-85d2-3bb69491f2d7" providerId="ADAL" clId="{CAF7940B-39B8-445E-984B-99E1A44C3CD7}" dt="2018-07-25T03:49:06.788" v="22292" actId="1076"/>
          <ac:picMkLst>
            <pc:docMk/>
            <pc:sldMk cId="2569976355" sldId="475"/>
            <ac:picMk id="206" creationId="{12E69685-48D8-4069-B90E-61E46CB1901E}"/>
          </ac:picMkLst>
        </pc:picChg>
        <pc:picChg chg="del">
          <ac:chgData name="Gaiye Zhou" userId="57624dc8-72d9-4103-85d2-3bb69491f2d7" providerId="ADAL" clId="{CAF7940B-39B8-445E-984B-99E1A44C3CD7}" dt="2018-07-24T15:06:20.812" v="18864" actId="478"/>
          <ac:picMkLst>
            <pc:docMk/>
            <pc:sldMk cId="2569976355" sldId="475"/>
            <ac:picMk id="208" creationId="{F825EEB4-8E4F-4406-907A-B1C93E85A42B}"/>
          </ac:picMkLst>
        </pc:picChg>
        <pc:picChg chg="add del mod">
          <ac:chgData name="Gaiye Zhou" userId="57624dc8-72d9-4103-85d2-3bb69491f2d7" providerId="ADAL" clId="{CAF7940B-39B8-445E-984B-99E1A44C3CD7}" dt="2018-07-25T03:57:23.945" v="22357"/>
          <ac:picMkLst>
            <pc:docMk/>
            <pc:sldMk cId="2569976355" sldId="475"/>
            <ac:picMk id="233" creationId="{D48007B4-EA27-43A6-A7E4-256C68F79F6B}"/>
          </ac:picMkLst>
        </pc:picChg>
        <pc:cxnChg chg="add del mod">
          <ac:chgData name="Gaiye Zhou" userId="57624dc8-72d9-4103-85d2-3bb69491f2d7" providerId="ADAL" clId="{CAF7940B-39B8-445E-984B-99E1A44C3CD7}" dt="2018-07-25T04:17:20.650" v="22416" actId="478"/>
          <ac:cxnSpMkLst>
            <pc:docMk/>
            <pc:sldMk cId="2569976355" sldId="475"/>
            <ac:cxnSpMk id="30" creationId="{3255A44D-3BE3-4962-B58C-86BAC3BA5247}"/>
          </ac:cxnSpMkLst>
        </pc:cxnChg>
        <pc:cxnChg chg="add del mod">
          <ac:chgData name="Gaiye Zhou" userId="57624dc8-72d9-4103-85d2-3bb69491f2d7" providerId="ADAL" clId="{CAF7940B-39B8-445E-984B-99E1A44C3CD7}" dt="2018-07-26T15:49:17.825" v="22531" actId="478"/>
          <ac:cxnSpMkLst>
            <pc:docMk/>
            <pc:sldMk cId="2569976355" sldId="475"/>
            <ac:cxnSpMk id="31" creationId="{A0E0DC20-FA33-42E4-AAE8-4DAC7E1E48F0}"/>
          </ac:cxnSpMkLst>
        </pc:cxnChg>
      </pc:sldChg>
      <pc:sldChg chg="modSp">
        <pc:chgData name="Gaiye Zhou" userId="57624dc8-72d9-4103-85d2-3bb69491f2d7" providerId="ADAL" clId="{CAF7940B-39B8-445E-984B-99E1A44C3CD7}" dt="2018-08-29T21:28:21.090" v="25615"/>
        <pc:sldMkLst>
          <pc:docMk/>
          <pc:sldMk cId="2310304140" sldId="476"/>
        </pc:sldMkLst>
        <pc:spChg chg="mod">
          <ac:chgData name="Gaiye Zhou" userId="57624dc8-72d9-4103-85d2-3bb69491f2d7" providerId="ADAL" clId="{CAF7940B-39B8-445E-984B-99E1A44C3CD7}" dt="2018-08-29T21:28:21.090" v="25615"/>
          <ac:spMkLst>
            <pc:docMk/>
            <pc:sldMk cId="2310304140" sldId="476"/>
            <ac:spMk id="28" creationId="{39554714-BDAE-4E5D-88C3-453D13CBFA82}"/>
          </ac:spMkLst>
        </pc:spChg>
      </pc:sldChg>
      <pc:sldChg chg="modSp modNotesTx">
        <pc:chgData name="Gaiye Zhou" userId="57624dc8-72d9-4103-85d2-3bb69491f2d7" providerId="ADAL" clId="{CAF7940B-39B8-445E-984B-99E1A44C3CD7}" dt="2018-07-31T20:34:30.322" v="24374" actId="20577"/>
        <pc:sldMkLst>
          <pc:docMk/>
          <pc:sldMk cId="3295286402" sldId="478"/>
        </pc:sldMkLst>
        <pc:spChg chg="mod">
          <ac:chgData name="Gaiye Zhou" userId="57624dc8-72d9-4103-85d2-3bb69491f2d7" providerId="ADAL" clId="{CAF7940B-39B8-445E-984B-99E1A44C3CD7}" dt="2018-07-24T22:58:21.305" v="21564" actId="20577"/>
          <ac:spMkLst>
            <pc:docMk/>
            <pc:sldMk cId="3295286402" sldId="478"/>
            <ac:spMk id="6" creationId="{44E5690F-35AB-40A3-AF7A-1F83F8B85A15}"/>
          </ac:spMkLst>
        </pc:spChg>
        <pc:spChg chg="mod">
          <ac:chgData name="Gaiye Zhou" userId="57624dc8-72d9-4103-85d2-3bb69491f2d7" providerId="ADAL" clId="{CAF7940B-39B8-445E-984B-99E1A44C3CD7}" dt="2018-07-31T20:34:30.322" v="24374" actId="20577"/>
          <ac:spMkLst>
            <pc:docMk/>
            <pc:sldMk cId="3295286402" sldId="478"/>
            <ac:spMk id="25" creationId="{F7744A62-7662-4667-98A7-FF2A4C5D7492}"/>
          </ac:spMkLst>
        </pc:spChg>
      </pc:sldChg>
      <pc:sldChg chg="modSp">
        <pc:chgData name="Gaiye Zhou" userId="57624dc8-72d9-4103-85d2-3bb69491f2d7" providerId="ADAL" clId="{CAF7940B-39B8-445E-984B-99E1A44C3CD7}" dt="2018-08-29T21:29:07.573" v="25641" actId="20577"/>
        <pc:sldMkLst>
          <pc:docMk/>
          <pc:sldMk cId="731496551" sldId="479"/>
        </pc:sldMkLst>
        <pc:spChg chg="mod">
          <ac:chgData name="Gaiye Zhou" userId="57624dc8-72d9-4103-85d2-3bb69491f2d7" providerId="ADAL" clId="{CAF7940B-39B8-445E-984B-99E1A44C3CD7}" dt="2018-08-29T21:29:07.573" v="25641" actId="20577"/>
          <ac:spMkLst>
            <pc:docMk/>
            <pc:sldMk cId="731496551" sldId="479"/>
            <ac:spMk id="28" creationId="{39554714-BDAE-4E5D-88C3-453D13CBFA82}"/>
          </ac:spMkLst>
        </pc:spChg>
      </pc:sldChg>
      <pc:sldChg chg="modSp">
        <pc:chgData name="Gaiye Zhou" userId="57624dc8-72d9-4103-85d2-3bb69491f2d7" providerId="ADAL" clId="{CAF7940B-39B8-445E-984B-99E1A44C3CD7}" dt="2018-08-29T21:29:50.655" v="25642" actId="1076"/>
        <pc:sldMkLst>
          <pc:docMk/>
          <pc:sldMk cId="889821752" sldId="480"/>
        </pc:sldMkLst>
        <pc:spChg chg="mod">
          <ac:chgData name="Gaiye Zhou" userId="57624dc8-72d9-4103-85d2-3bb69491f2d7" providerId="ADAL" clId="{CAF7940B-39B8-445E-984B-99E1A44C3CD7}" dt="2018-08-29T21:29:50.655" v="25642" actId="1076"/>
          <ac:spMkLst>
            <pc:docMk/>
            <pc:sldMk cId="889821752" sldId="480"/>
            <ac:spMk id="3" creationId="{E9DEC043-F05E-4337-9336-1B6947DF21B7}"/>
          </ac:spMkLst>
        </pc:spChg>
      </pc:sldChg>
      <pc:sldChg chg="modSp">
        <pc:chgData name="Gaiye Zhou" userId="57624dc8-72d9-4103-85d2-3bb69491f2d7" providerId="ADAL" clId="{CAF7940B-39B8-445E-984B-99E1A44C3CD7}" dt="2018-08-29T20:58:37.777" v="25583" actId="20577"/>
        <pc:sldMkLst>
          <pc:docMk/>
          <pc:sldMk cId="2950843235" sldId="481"/>
        </pc:sldMkLst>
        <pc:spChg chg="mod">
          <ac:chgData name="Gaiye Zhou" userId="57624dc8-72d9-4103-85d2-3bb69491f2d7" providerId="ADAL" clId="{CAF7940B-39B8-445E-984B-99E1A44C3CD7}" dt="2018-08-29T20:58:37.777" v="25583" actId="20577"/>
          <ac:spMkLst>
            <pc:docMk/>
            <pc:sldMk cId="2950843235" sldId="481"/>
            <ac:spMk id="26" creationId="{0AB17DCD-54A0-473B-9116-007B2D65305E}"/>
          </ac:spMkLst>
        </pc:spChg>
        <pc:picChg chg="mod">
          <ac:chgData name="Gaiye Zhou" userId="57624dc8-72d9-4103-85d2-3bb69491f2d7" providerId="ADAL" clId="{CAF7940B-39B8-445E-984B-99E1A44C3CD7}" dt="2018-08-29T20:58:31.269" v="25579" actId="1076"/>
          <ac:picMkLst>
            <pc:docMk/>
            <pc:sldMk cId="2950843235" sldId="481"/>
            <ac:picMk id="25" creationId="{4C475742-F7B7-462F-9693-C13009B6E496}"/>
          </ac:picMkLst>
        </pc:picChg>
      </pc:sldChg>
      <pc:sldChg chg="modSp">
        <pc:chgData name="Gaiye Zhou" userId="57624dc8-72d9-4103-85d2-3bb69491f2d7" providerId="ADAL" clId="{CAF7940B-39B8-445E-984B-99E1A44C3CD7}" dt="2018-07-31T18:08:33.535" v="23640" actId="20577"/>
        <pc:sldMkLst>
          <pc:docMk/>
          <pc:sldMk cId="3541099042" sldId="1136"/>
        </pc:sldMkLst>
        <pc:spChg chg="mod">
          <ac:chgData name="Gaiye Zhou" userId="57624dc8-72d9-4103-85d2-3bb69491f2d7" providerId="ADAL" clId="{CAF7940B-39B8-445E-984B-99E1A44C3CD7}" dt="2018-07-31T18:08:33.535" v="23640" actId="20577"/>
          <ac:spMkLst>
            <pc:docMk/>
            <pc:sldMk cId="3541099042" sldId="1136"/>
            <ac:spMk id="70" creationId="{6F7EEBCA-315E-42C0-AFC8-9AEC2F5F8C05}"/>
          </ac:spMkLst>
        </pc:spChg>
      </pc:sldChg>
      <pc:sldChg chg="modSp">
        <pc:chgData name="Gaiye Zhou" userId="57624dc8-72d9-4103-85d2-3bb69491f2d7" providerId="ADAL" clId="{CAF7940B-39B8-445E-984B-99E1A44C3CD7}" dt="2018-07-31T18:08:58.086" v="23641" actId="20577"/>
        <pc:sldMkLst>
          <pc:docMk/>
          <pc:sldMk cId="178516156" sldId="1180"/>
        </pc:sldMkLst>
        <pc:spChg chg="mod">
          <ac:chgData name="Gaiye Zhou" userId="57624dc8-72d9-4103-85d2-3bb69491f2d7" providerId="ADAL" clId="{CAF7940B-39B8-445E-984B-99E1A44C3CD7}" dt="2018-07-31T18:08:58.086" v="23641" actId="20577"/>
          <ac:spMkLst>
            <pc:docMk/>
            <pc:sldMk cId="178516156" sldId="1180"/>
            <ac:spMk id="6" creationId="{44E5690F-35AB-40A3-AF7A-1F83F8B85A15}"/>
          </ac:spMkLst>
        </pc:spChg>
      </pc:sldChg>
      <pc:sldChg chg="addSp delSp modSp add modNotesTx">
        <pc:chgData name="Gaiye Zhou" userId="57624dc8-72d9-4103-85d2-3bb69491f2d7" providerId="ADAL" clId="{CAF7940B-39B8-445E-984B-99E1A44C3CD7}" dt="2018-08-03T18:17:32.956" v="25067" actId="1076"/>
        <pc:sldMkLst>
          <pc:docMk/>
          <pc:sldMk cId="728268562" sldId="1183"/>
        </pc:sldMkLst>
        <pc:spChg chg="add mod">
          <ac:chgData name="Gaiye Zhou" userId="57624dc8-72d9-4103-85d2-3bb69491f2d7" providerId="ADAL" clId="{CAF7940B-39B8-445E-984B-99E1A44C3CD7}" dt="2018-08-03T18:17:32.956" v="25067" actId="1076"/>
          <ac:spMkLst>
            <pc:docMk/>
            <pc:sldMk cId="728268562" sldId="1183"/>
            <ac:spMk id="25" creationId="{6F17DCF7-BE4D-41B9-952E-675CC7A8B55F}"/>
          </ac:spMkLst>
        </pc:spChg>
        <pc:spChg chg="del">
          <ac:chgData name="Gaiye Zhou" userId="57624dc8-72d9-4103-85d2-3bb69491f2d7" providerId="ADAL" clId="{CAF7940B-39B8-445E-984B-99E1A44C3CD7}" dt="2018-07-31T03:03:27.281" v="22575" actId="478"/>
          <ac:spMkLst>
            <pc:docMk/>
            <pc:sldMk cId="728268562" sldId="1183"/>
            <ac:spMk id="25" creationId="{F7744A62-7662-4667-98A7-FF2A4C5D7492}"/>
          </ac:spMkLst>
        </pc:spChg>
        <pc:spChg chg="add mod">
          <ac:chgData name="Gaiye Zhou" userId="57624dc8-72d9-4103-85d2-3bb69491f2d7" providerId="ADAL" clId="{CAF7940B-39B8-445E-984B-99E1A44C3CD7}" dt="2018-08-03T18:16:01.714" v="24905" actId="20577"/>
          <ac:spMkLst>
            <pc:docMk/>
            <pc:sldMk cId="728268562" sldId="1183"/>
            <ac:spMk id="26" creationId="{FC9CA311-1E9C-4A08-9C0B-1AF4225551F3}"/>
          </ac:spMkLst>
        </pc:spChg>
        <pc:graphicFrameChg chg="add del mod modGraphic">
          <ac:chgData name="Gaiye Zhou" userId="57624dc8-72d9-4103-85d2-3bb69491f2d7" providerId="ADAL" clId="{CAF7940B-39B8-445E-984B-99E1A44C3CD7}" dt="2018-07-31T03:22:08.721" v="22759" actId="478"/>
          <ac:graphicFrameMkLst>
            <pc:docMk/>
            <pc:sldMk cId="728268562" sldId="1183"/>
            <ac:graphicFrameMk id="2" creationId="{113E7336-970F-408F-9839-A5785C3A08A9}"/>
          </ac:graphicFrameMkLst>
        </pc:graphicFrameChg>
        <pc:graphicFrameChg chg="add mod modGraphic">
          <ac:chgData name="Gaiye Zhou" userId="57624dc8-72d9-4103-85d2-3bb69491f2d7" providerId="ADAL" clId="{CAF7940B-39B8-445E-984B-99E1A44C3CD7}" dt="2018-08-03T18:17:30.142" v="25066" actId="1076"/>
          <ac:graphicFrameMkLst>
            <pc:docMk/>
            <pc:sldMk cId="728268562" sldId="1183"/>
            <ac:graphicFrameMk id="2" creationId="{315AC2D5-426E-40CF-B81A-F5D78B4B854C}"/>
          </ac:graphicFrameMkLst>
        </pc:graphicFrameChg>
        <pc:graphicFrameChg chg="add del mod modGraphic">
          <ac:chgData name="Gaiye Zhou" userId="57624dc8-72d9-4103-85d2-3bb69491f2d7" providerId="ADAL" clId="{CAF7940B-39B8-445E-984B-99E1A44C3CD7}" dt="2018-07-31T03:25:00.473" v="22768" actId="478"/>
          <ac:graphicFrameMkLst>
            <pc:docMk/>
            <pc:sldMk cId="728268562" sldId="1183"/>
            <ac:graphicFrameMk id="3" creationId="{FD2E75B5-8873-4EC3-8FD8-25918C204245}"/>
          </ac:graphicFrameMkLst>
        </pc:graphicFrameChg>
        <pc:graphicFrameChg chg="add del mod modGraphic">
          <ac:chgData name="Gaiye Zhou" userId="57624dc8-72d9-4103-85d2-3bb69491f2d7" providerId="ADAL" clId="{CAF7940B-39B8-445E-984B-99E1A44C3CD7}" dt="2018-07-31T20:30:33.222" v="24204" actId="478"/>
          <ac:graphicFrameMkLst>
            <pc:docMk/>
            <pc:sldMk cId="728268562" sldId="1183"/>
            <ac:graphicFrameMk id="4" creationId="{7CC487D3-CDD2-4E1D-8B31-198FC2F531CF}"/>
          </ac:graphicFrameMkLst>
        </pc:graphicFrameChg>
      </pc:sldChg>
      <pc:sldChg chg="modSp">
        <pc:chgData name="Gaiye Zhou" userId="57624dc8-72d9-4103-85d2-3bb69491f2d7" providerId="ADAL" clId="{CAF7940B-39B8-445E-984B-99E1A44C3CD7}" dt="2018-08-03T17:29:28.057" v="24896" actId="20577"/>
        <pc:sldMkLst>
          <pc:docMk/>
          <pc:sldMk cId="2703729543" sldId="1184"/>
        </pc:sldMkLst>
        <pc:spChg chg="mod">
          <ac:chgData name="Gaiye Zhou" userId="57624dc8-72d9-4103-85d2-3bb69491f2d7" providerId="ADAL" clId="{CAF7940B-39B8-445E-984B-99E1A44C3CD7}" dt="2018-08-03T17:29:28.057" v="24896" actId="20577"/>
          <ac:spMkLst>
            <pc:docMk/>
            <pc:sldMk cId="2703729543" sldId="1184"/>
            <ac:spMk id="25" creationId="{F7744A62-7662-4667-98A7-FF2A4C5D7492}"/>
          </ac:spMkLst>
        </pc:spChg>
      </pc:sldChg>
      <pc:sldChg chg="modSp">
        <pc:chgData name="Gaiye Zhou" userId="57624dc8-72d9-4103-85d2-3bb69491f2d7" providerId="ADAL" clId="{CAF7940B-39B8-445E-984B-99E1A44C3CD7}" dt="2018-08-03T17:46:31.227" v="24903" actId="20577"/>
        <pc:sldMkLst>
          <pc:docMk/>
          <pc:sldMk cId="2214250801" sldId="1185"/>
        </pc:sldMkLst>
        <pc:spChg chg="mod">
          <ac:chgData name="Gaiye Zhou" userId="57624dc8-72d9-4103-85d2-3bb69491f2d7" providerId="ADAL" clId="{CAF7940B-39B8-445E-984B-99E1A44C3CD7}" dt="2018-08-03T17:46:31.227" v="24903" actId="20577"/>
          <ac:spMkLst>
            <pc:docMk/>
            <pc:sldMk cId="2214250801" sldId="1185"/>
            <ac:spMk id="25" creationId="{F7744A62-7662-4667-98A7-FF2A4C5D7492}"/>
          </ac:spMkLst>
        </pc:spChg>
      </pc:sldChg>
      <pc:sldChg chg="modSp">
        <pc:chgData name="Gaiye Zhou" userId="57624dc8-72d9-4103-85d2-3bb69491f2d7" providerId="ADAL" clId="{CAF7940B-39B8-445E-984B-99E1A44C3CD7}" dt="2018-08-03T17:28:25.435" v="24894" actId="20577"/>
        <pc:sldMkLst>
          <pc:docMk/>
          <pc:sldMk cId="346408460" sldId="1188"/>
        </pc:sldMkLst>
        <pc:spChg chg="mod">
          <ac:chgData name="Gaiye Zhou" userId="57624dc8-72d9-4103-85d2-3bb69491f2d7" providerId="ADAL" clId="{CAF7940B-39B8-445E-984B-99E1A44C3CD7}" dt="2018-08-03T17:28:25.435" v="24894" actId="20577"/>
          <ac:spMkLst>
            <pc:docMk/>
            <pc:sldMk cId="346408460" sldId="1188"/>
            <ac:spMk id="36" creationId="{07A6AD12-DA03-4E52-A1F0-B0351663C419}"/>
          </ac:spMkLst>
        </pc:spChg>
      </pc:sldChg>
      <pc:sldChg chg="modSp">
        <pc:chgData name="Gaiye Zhou" userId="57624dc8-72d9-4103-85d2-3bb69491f2d7" providerId="ADAL" clId="{CAF7940B-39B8-445E-984B-99E1A44C3CD7}" dt="2018-08-02T21:39:34.766" v="24455" actId="20577"/>
        <pc:sldMkLst>
          <pc:docMk/>
          <pc:sldMk cId="2619013021" sldId="1190"/>
        </pc:sldMkLst>
        <pc:spChg chg="mod">
          <ac:chgData name="Gaiye Zhou" userId="57624dc8-72d9-4103-85d2-3bb69491f2d7" providerId="ADAL" clId="{CAF7940B-39B8-445E-984B-99E1A44C3CD7}" dt="2018-08-02T21:39:34.766" v="24455" actId="20577"/>
          <ac:spMkLst>
            <pc:docMk/>
            <pc:sldMk cId="2619013021" sldId="1190"/>
            <ac:spMk id="36" creationId="{07A6AD12-DA03-4E52-A1F0-B0351663C419}"/>
          </ac:spMkLst>
        </pc:spChg>
      </pc:sldChg>
      <pc:sldChg chg="addSp delSp modSp add">
        <pc:chgData name="Gaiye Zhou" userId="57624dc8-72d9-4103-85d2-3bb69491f2d7" providerId="ADAL" clId="{CAF7940B-39B8-445E-984B-99E1A44C3CD7}" dt="2018-09-01T02:42:08.840" v="25743" actId="1076"/>
        <pc:sldMkLst>
          <pc:docMk/>
          <pc:sldMk cId="2469529818" sldId="1194"/>
        </pc:sldMkLst>
        <pc:spChg chg="mod ord">
          <ac:chgData name="Gaiye Zhou" userId="57624dc8-72d9-4103-85d2-3bb69491f2d7" providerId="ADAL" clId="{CAF7940B-39B8-445E-984B-99E1A44C3CD7}" dt="2018-09-01T02:42:08.840" v="25743" actId="1076"/>
          <ac:spMkLst>
            <pc:docMk/>
            <pc:sldMk cId="2469529818" sldId="1194"/>
            <ac:spMk id="51" creationId="{12107BF8-FF65-49F7-B19C-A80068D273C3}"/>
          </ac:spMkLst>
        </pc:spChg>
        <pc:picChg chg="add del">
          <ac:chgData name="Gaiye Zhou" userId="57624dc8-72d9-4103-85d2-3bb69491f2d7" providerId="ADAL" clId="{CAF7940B-39B8-445E-984B-99E1A44C3CD7}" dt="2018-09-01T02:40:49.162" v="25738"/>
          <ac:picMkLst>
            <pc:docMk/>
            <pc:sldMk cId="2469529818" sldId="1194"/>
            <ac:picMk id="2" creationId="{5CD69CDF-61F1-4771-9B3F-6B21B1256BE1}"/>
          </ac:picMkLst>
        </pc:picChg>
        <pc:picChg chg="del">
          <ac:chgData name="Gaiye Zhou" userId="57624dc8-72d9-4103-85d2-3bb69491f2d7" providerId="ADAL" clId="{CAF7940B-39B8-445E-984B-99E1A44C3CD7}" dt="2018-08-29T19:28:02.635" v="25416" actId="478"/>
          <ac:picMkLst>
            <pc:docMk/>
            <pc:sldMk cId="2469529818" sldId="1194"/>
            <ac:picMk id="2" creationId="{EF8B01C8-E184-4900-901E-BC84E88BAD85}"/>
          </ac:picMkLst>
        </pc:picChg>
        <pc:picChg chg="add del mod">
          <ac:chgData name="Gaiye Zhou" userId="57624dc8-72d9-4103-85d2-3bb69491f2d7" providerId="ADAL" clId="{CAF7940B-39B8-445E-984B-99E1A44C3CD7}" dt="2018-09-01T02:40:43.727" v="25736" actId="478"/>
          <ac:picMkLst>
            <pc:docMk/>
            <pc:sldMk cId="2469529818" sldId="1194"/>
            <ac:picMk id="3" creationId="{055AFB25-53B4-4922-867C-2F9C9AD890B4}"/>
          </ac:picMkLst>
        </pc:picChg>
        <pc:picChg chg="add mod">
          <ac:chgData name="Gaiye Zhou" userId="57624dc8-72d9-4103-85d2-3bb69491f2d7" providerId="ADAL" clId="{CAF7940B-39B8-445E-984B-99E1A44C3CD7}" dt="2018-09-01T02:42:00.100" v="25741" actId="1076"/>
          <ac:picMkLst>
            <pc:docMk/>
            <pc:sldMk cId="2469529818" sldId="1194"/>
            <ac:picMk id="4" creationId="{7725619D-7BF3-4E28-A4F7-C2F790C40FF1}"/>
          </ac:picMkLst>
        </pc:picChg>
      </pc:sldChg>
    </pc:docChg>
  </pc:docChgLst>
  <pc:docChgLst>
    <pc:chgData name="Andy Isley" userId="86fc7312-e160-49fa-b241-408c12ce0f7b" providerId="ADAL" clId="{F0858F75-C906-472E-9372-937DC8287CF9}"/>
    <pc:docChg chg="undo custSel addSld delSld modSld sldOrd">
      <pc:chgData name="Andy Isley" userId="86fc7312-e160-49fa-b241-408c12ce0f7b" providerId="ADAL" clId="{F0858F75-C906-472E-9372-937DC8287CF9}" dt="2018-08-14T19:33:53.444" v="12154" actId="20577"/>
      <pc:docMkLst>
        <pc:docMk/>
      </pc:docMkLst>
      <pc:sldChg chg="modSp">
        <pc:chgData name="Andy Isley" userId="86fc7312-e160-49fa-b241-408c12ce0f7b" providerId="ADAL" clId="{F0858F75-C906-472E-9372-937DC8287CF9}" dt="2018-08-14T17:34:50.806" v="11479" actId="6549"/>
        <pc:sldMkLst>
          <pc:docMk/>
          <pc:sldMk cId="3710516447" sldId="261"/>
        </pc:sldMkLst>
        <pc:spChg chg="mod">
          <ac:chgData name="Andy Isley" userId="86fc7312-e160-49fa-b241-408c12ce0f7b" providerId="ADAL" clId="{F0858F75-C906-472E-9372-937DC8287CF9}" dt="2018-08-14T17:34:50.806" v="11479" actId="6549"/>
          <ac:spMkLst>
            <pc:docMk/>
            <pc:sldMk cId="3710516447" sldId="261"/>
            <ac:spMk id="5" creationId="{00000000-0000-0000-0000-000000000000}"/>
          </ac:spMkLst>
        </pc:spChg>
      </pc:sldChg>
      <pc:sldChg chg="modSp ord">
        <pc:chgData name="Andy Isley" userId="86fc7312-e160-49fa-b241-408c12ce0f7b" providerId="ADAL" clId="{F0858F75-C906-472E-9372-937DC8287CF9}" dt="2018-08-14T17:40:36.782" v="11572" actId="1076"/>
        <pc:sldMkLst>
          <pc:docMk/>
          <pc:sldMk cId="1177177822" sldId="305"/>
        </pc:sldMkLst>
        <pc:spChg chg="mod">
          <ac:chgData name="Andy Isley" userId="86fc7312-e160-49fa-b241-408c12ce0f7b" providerId="ADAL" clId="{F0858F75-C906-472E-9372-937DC8287CF9}" dt="2018-08-14T17:33:19.293" v="11402" actId="20577"/>
          <ac:spMkLst>
            <pc:docMk/>
            <pc:sldMk cId="1177177822" sldId="305"/>
            <ac:spMk id="6" creationId="{44E5690F-35AB-40A3-AF7A-1F83F8B85A15}"/>
          </ac:spMkLst>
        </pc:spChg>
        <pc:spChg chg="mod">
          <ac:chgData name="Andy Isley" userId="86fc7312-e160-49fa-b241-408c12ce0f7b" providerId="ADAL" clId="{F0858F75-C906-472E-9372-937DC8287CF9}" dt="2018-08-14T17:40:31.708" v="11571" actId="1076"/>
          <ac:spMkLst>
            <pc:docMk/>
            <pc:sldMk cId="1177177822" sldId="305"/>
            <ac:spMk id="31" creationId="{12720248-F868-473A-A29C-944FE19DF65B}"/>
          </ac:spMkLst>
        </pc:spChg>
        <pc:spChg chg="mod">
          <ac:chgData name="Andy Isley" userId="86fc7312-e160-49fa-b241-408c12ce0f7b" providerId="ADAL" clId="{F0858F75-C906-472E-9372-937DC8287CF9}" dt="2018-08-14T17:40:36.782" v="11572" actId="1076"/>
          <ac:spMkLst>
            <pc:docMk/>
            <pc:sldMk cId="1177177822" sldId="305"/>
            <ac:spMk id="38" creationId="{ED33A9AF-4B0C-4692-953A-D3B78C3F7420}"/>
          </ac:spMkLst>
        </pc:spChg>
        <pc:cxnChg chg="mod">
          <ac:chgData name="Andy Isley" userId="86fc7312-e160-49fa-b241-408c12ce0f7b" providerId="ADAL" clId="{F0858F75-C906-472E-9372-937DC8287CF9}" dt="2018-08-14T17:40:36.782" v="11572" actId="1076"/>
          <ac:cxnSpMkLst>
            <pc:docMk/>
            <pc:sldMk cId="1177177822" sldId="305"/>
            <ac:cxnSpMk id="34" creationId="{8CDB783C-C896-4366-8AFF-61223ED60B5F}"/>
          </ac:cxnSpMkLst>
        </pc:cxnChg>
        <pc:cxnChg chg="mod">
          <ac:chgData name="Andy Isley" userId="86fc7312-e160-49fa-b241-408c12ce0f7b" providerId="ADAL" clId="{F0858F75-C906-472E-9372-937DC8287CF9}" dt="2018-08-14T17:40:31.708" v="11571" actId="1076"/>
          <ac:cxnSpMkLst>
            <pc:docMk/>
            <pc:sldMk cId="1177177822" sldId="305"/>
            <ac:cxnSpMk id="35" creationId="{CD126330-1C8C-48EB-A9BA-399FBF5D7AC2}"/>
          </ac:cxnSpMkLst>
        </pc:cxnChg>
      </pc:sldChg>
      <pc:sldChg chg="ord">
        <pc:chgData name="Andy Isley" userId="86fc7312-e160-49fa-b241-408c12ce0f7b" providerId="ADAL" clId="{F0858F75-C906-472E-9372-937DC8287CF9}" dt="2018-07-12T19:29:38.464" v="1523"/>
        <pc:sldMkLst>
          <pc:docMk/>
          <pc:sldMk cId="1303769889" sldId="306"/>
        </pc:sldMkLst>
      </pc:sldChg>
      <pc:sldChg chg="modSp ord">
        <pc:chgData name="Andy Isley" userId="86fc7312-e160-49fa-b241-408c12ce0f7b" providerId="ADAL" clId="{F0858F75-C906-472E-9372-937DC8287CF9}" dt="2018-07-23T19:13:13.013" v="4148" actId="2711"/>
        <pc:sldMkLst>
          <pc:docMk/>
          <pc:sldMk cId="3019355295" sldId="340"/>
        </pc:sldMkLst>
        <pc:spChg chg="mod">
          <ac:chgData name="Andy Isley" userId="86fc7312-e160-49fa-b241-408c12ce0f7b" providerId="ADAL" clId="{F0858F75-C906-472E-9372-937DC8287CF9}" dt="2018-07-19T15:54:29.558" v="3407" actId="6549"/>
          <ac:spMkLst>
            <pc:docMk/>
            <pc:sldMk cId="3019355295" sldId="340"/>
            <ac:spMk id="6" creationId="{44E5690F-35AB-40A3-AF7A-1F83F8B85A15}"/>
          </ac:spMkLst>
        </pc:spChg>
        <pc:spChg chg="mod">
          <ac:chgData name="Andy Isley" userId="86fc7312-e160-49fa-b241-408c12ce0f7b" providerId="ADAL" clId="{F0858F75-C906-472E-9372-937DC8287CF9}" dt="2018-07-23T19:13:13.013" v="4148" actId="2711"/>
          <ac:spMkLst>
            <pc:docMk/>
            <pc:sldMk cId="3019355295" sldId="340"/>
            <ac:spMk id="25" creationId="{B7D8A3F1-216C-4798-B65D-1A336BDC030D}"/>
          </ac:spMkLst>
        </pc:spChg>
      </pc:sldChg>
      <pc:sldChg chg="modSp">
        <pc:chgData name="Andy Isley" userId="86fc7312-e160-49fa-b241-408c12ce0f7b" providerId="ADAL" clId="{F0858F75-C906-472E-9372-937DC8287CF9}" dt="2018-07-11T20:06:17.028" v="626" actId="14100"/>
        <pc:sldMkLst>
          <pc:docMk/>
          <pc:sldMk cId="4193617695" sldId="377"/>
        </pc:sldMkLst>
        <pc:spChg chg="mod">
          <ac:chgData name="Andy Isley" userId="86fc7312-e160-49fa-b241-408c12ce0f7b" providerId="ADAL" clId="{F0858F75-C906-472E-9372-937DC8287CF9}" dt="2018-07-11T20:06:17.028" v="626" actId="14100"/>
          <ac:spMkLst>
            <pc:docMk/>
            <pc:sldMk cId="4193617695" sldId="377"/>
            <ac:spMk id="37" creationId="{1EC0BE6D-FEF7-491F-AB0E-8B9E0DE93206}"/>
          </ac:spMkLst>
        </pc:spChg>
      </pc:sldChg>
      <pc:sldChg chg="delSp">
        <pc:chgData name="Andy Isley" userId="86fc7312-e160-49fa-b241-408c12ce0f7b" providerId="ADAL" clId="{F0858F75-C906-472E-9372-937DC8287CF9}" dt="2018-07-24T19:02:42.218" v="7661" actId="478"/>
        <pc:sldMkLst>
          <pc:docMk/>
          <pc:sldMk cId="1229794203" sldId="380"/>
        </pc:sldMkLst>
        <pc:spChg chg="del">
          <ac:chgData name="Andy Isley" userId="86fc7312-e160-49fa-b241-408c12ce0f7b" providerId="ADAL" clId="{F0858F75-C906-472E-9372-937DC8287CF9}" dt="2018-07-24T19:02:42.218" v="7661" actId="478"/>
          <ac:spMkLst>
            <pc:docMk/>
            <pc:sldMk cId="1229794203" sldId="380"/>
            <ac:spMk id="25" creationId="{5280CF7A-DDFE-4AC6-9DDE-F70992B10BE0}"/>
          </ac:spMkLst>
        </pc:spChg>
      </pc:sldChg>
      <pc:sldChg chg="ord">
        <pc:chgData name="Andy Isley" userId="86fc7312-e160-49fa-b241-408c12ce0f7b" providerId="ADAL" clId="{F0858F75-C906-472E-9372-937DC8287CF9}" dt="2018-07-12T19:29:38.464" v="1523"/>
        <pc:sldMkLst>
          <pc:docMk/>
          <pc:sldMk cId="4269936708" sldId="383"/>
        </pc:sldMkLst>
      </pc:sldChg>
      <pc:sldChg chg="ord">
        <pc:chgData name="Andy Isley" userId="86fc7312-e160-49fa-b241-408c12ce0f7b" providerId="ADAL" clId="{F0858F75-C906-472E-9372-937DC8287CF9}" dt="2018-07-30T15:08:56.621" v="11238"/>
        <pc:sldMkLst>
          <pc:docMk/>
          <pc:sldMk cId="3841614441" sldId="386"/>
        </pc:sldMkLst>
      </pc:sldChg>
      <pc:sldChg chg="modSp ord delCm modCm">
        <pc:chgData name="Andy Isley" userId="86fc7312-e160-49fa-b241-408c12ce0f7b" providerId="ADAL" clId="{F0858F75-C906-472E-9372-937DC8287CF9}" dt="2018-08-14T17:48:13.106" v="11852" actId="20577"/>
        <pc:sldMkLst>
          <pc:docMk/>
          <pc:sldMk cId="863039024" sldId="389"/>
        </pc:sldMkLst>
        <pc:spChg chg="mod">
          <ac:chgData name="Andy Isley" userId="86fc7312-e160-49fa-b241-408c12ce0f7b" providerId="ADAL" clId="{F0858F75-C906-472E-9372-937DC8287CF9}" dt="2018-08-14T17:48:13.106" v="11852" actId="20577"/>
          <ac:spMkLst>
            <pc:docMk/>
            <pc:sldMk cId="863039024" sldId="389"/>
            <ac:spMk id="4" creationId="{89FA0889-76AD-48A0-BBC9-605FD57AE5A9}"/>
          </ac:spMkLst>
        </pc:spChg>
        <pc:spChg chg="mod">
          <ac:chgData name="Andy Isley" userId="86fc7312-e160-49fa-b241-408c12ce0f7b" providerId="ADAL" clId="{F0858F75-C906-472E-9372-937DC8287CF9}" dt="2018-07-30T14:31:14.368" v="11062" actId="20577"/>
          <ac:spMkLst>
            <pc:docMk/>
            <pc:sldMk cId="863039024" sldId="389"/>
            <ac:spMk id="35" creationId="{00000000-0000-0000-0000-000000000000}"/>
          </ac:spMkLst>
        </pc:spChg>
      </pc:sldChg>
      <pc:sldChg chg="modSp modTransition">
        <pc:chgData name="Andy Isley" userId="86fc7312-e160-49fa-b241-408c12ce0f7b" providerId="ADAL" clId="{F0858F75-C906-472E-9372-937DC8287CF9}" dt="2018-07-20T20:51:21.059" v="4146" actId="20577"/>
        <pc:sldMkLst>
          <pc:docMk/>
          <pc:sldMk cId="690030173" sldId="390"/>
        </pc:sldMkLst>
        <pc:spChg chg="mod">
          <ac:chgData name="Andy Isley" userId="86fc7312-e160-49fa-b241-408c12ce0f7b" providerId="ADAL" clId="{F0858F75-C906-472E-9372-937DC8287CF9}" dt="2018-07-20T20:51:21.059" v="4146" actId="20577"/>
          <ac:spMkLst>
            <pc:docMk/>
            <pc:sldMk cId="690030173" sldId="390"/>
            <ac:spMk id="6" creationId="{AA8C26A3-138D-4176-840D-3AF338A96421}"/>
          </ac:spMkLst>
        </pc:spChg>
      </pc:sldChg>
      <pc:sldChg chg="modSp">
        <pc:chgData name="Andy Isley" userId="86fc7312-e160-49fa-b241-408c12ce0f7b" providerId="ADAL" clId="{F0858F75-C906-472E-9372-937DC8287CF9}" dt="2018-07-23T19:15:11.770" v="4160" actId="2711"/>
        <pc:sldMkLst>
          <pc:docMk/>
          <pc:sldMk cId="1891875629" sldId="391"/>
        </pc:sldMkLst>
        <pc:spChg chg="mod">
          <ac:chgData name="Andy Isley" userId="86fc7312-e160-49fa-b241-408c12ce0f7b" providerId="ADAL" clId="{F0858F75-C906-472E-9372-937DC8287CF9}" dt="2018-07-23T19:15:11.770" v="4160" actId="2711"/>
          <ac:spMkLst>
            <pc:docMk/>
            <pc:sldMk cId="1891875629" sldId="391"/>
            <ac:spMk id="4" creationId="{89FA0889-76AD-48A0-BBC9-605FD57AE5A9}"/>
          </ac:spMkLst>
        </pc:spChg>
      </pc:sldChg>
      <pc:sldChg chg="modSp">
        <pc:chgData name="Andy Isley" userId="86fc7312-e160-49fa-b241-408c12ce0f7b" providerId="ADAL" clId="{F0858F75-C906-472E-9372-937DC8287CF9}" dt="2018-07-23T19:15:30.627" v="4161" actId="2711"/>
        <pc:sldMkLst>
          <pc:docMk/>
          <pc:sldMk cId="2180637828" sldId="392"/>
        </pc:sldMkLst>
        <pc:spChg chg="mod">
          <ac:chgData name="Andy Isley" userId="86fc7312-e160-49fa-b241-408c12ce0f7b" providerId="ADAL" clId="{F0858F75-C906-472E-9372-937DC8287CF9}" dt="2018-07-23T19:15:30.627" v="4161" actId="2711"/>
          <ac:spMkLst>
            <pc:docMk/>
            <pc:sldMk cId="2180637828" sldId="392"/>
            <ac:spMk id="9" creationId="{ACB3664D-A31D-458E-B563-F2CEA8D73476}"/>
          </ac:spMkLst>
        </pc:spChg>
      </pc:sldChg>
      <pc:sldChg chg="delSp">
        <pc:chgData name="Andy Isley" userId="86fc7312-e160-49fa-b241-408c12ce0f7b" providerId="ADAL" clId="{F0858F75-C906-472E-9372-937DC8287CF9}" dt="2018-07-19T19:22:16.569" v="4004" actId="478"/>
        <pc:sldMkLst>
          <pc:docMk/>
          <pc:sldMk cId="320203271" sldId="393"/>
        </pc:sldMkLst>
        <pc:spChg chg="del">
          <ac:chgData name="Andy Isley" userId="86fc7312-e160-49fa-b241-408c12ce0f7b" providerId="ADAL" clId="{F0858F75-C906-472E-9372-937DC8287CF9}" dt="2018-07-19T19:22:16.569" v="4004" actId="478"/>
          <ac:spMkLst>
            <pc:docMk/>
            <pc:sldMk cId="320203271" sldId="393"/>
            <ac:spMk id="41" creationId="{A08BB54E-23DD-4A63-B5B4-1658999E7E28}"/>
          </ac:spMkLst>
        </pc:spChg>
        <pc:picChg chg="del">
          <ac:chgData name="Andy Isley" userId="86fc7312-e160-49fa-b241-408c12ce0f7b" providerId="ADAL" clId="{F0858F75-C906-472E-9372-937DC8287CF9}" dt="2018-07-19T19:22:14.683" v="4003" actId="478"/>
          <ac:picMkLst>
            <pc:docMk/>
            <pc:sldMk cId="320203271" sldId="393"/>
            <ac:picMk id="40" creationId="{5C684C94-2C9E-47AA-8943-39BEF3114746}"/>
          </ac:picMkLst>
        </pc:picChg>
      </pc:sldChg>
      <pc:sldChg chg="modSp delCm">
        <pc:chgData name="Andy Isley" userId="86fc7312-e160-49fa-b241-408c12ce0f7b" providerId="ADAL" clId="{F0858F75-C906-472E-9372-937DC8287CF9}" dt="2018-07-23T19:15:58.553" v="4185" actId="20577"/>
        <pc:sldMkLst>
          <pc:docMk/>
          <pc:sldMk cId="3958143876" sldId="394"/>
        </pc:sldMkLst>
        <pc:spChg chg="mod">
          <ac:chgData name="Andy Isley" userId="86fc7312-e160-49fa-b241-408c12ce0f7b" providerId="ADAL" clId="{F0858F75-C906-472E-9372-937DC8287CF9}" dt="2018-07-23T19:15:58.553" v="4185" actId="20577"/>
          <ac:spMkLst>
            <pc:docMk/>
            <pc:sldMk cId="3958143876" sldId="394"/>
            <ac:spMk id="9" creationId="{05B49E3D-7B28-4F05-8AE2-6DFCF7E4E738}"/>
          </ac:spMkLst>
        </pc:spChg>
      </pc:sldChg>
      <pc:sldChg chg="modSp delCm">
        <pc:chgData name="Andy Isley" userId="86fc7312-e160-49fa-b241-408c12ce0f7b" providerId="ADAL" clId="{F0858F75-C906-472E-9372-937DC8287CF9}" dt="2018-07-17T15:36:38.268" v="1736" actId="113"/>
        <pc:sldMkLst>
          <pc:docMk/>
          <pc:sldMk cId="3556672449" sldId="396"/>
        </pc:sldMkLst>
        <pc:spChg chg="mod">
          <ac:chgData name="Andy Isley" userId="86fc7312-e160-49fa-b241-408c12ce0f7b" providerId="ADAL" clId="{F0858F75-C906-472E-9372-937DC8287CF9}" dt="2018-07-17T15:36:38.268" v="1736" actId="113"/>
          <ac:spMkLst>
            <pc:docMk/>
            <pc:sldMk cId="3556672449" sldId="396"/>
            <ac:spMk id="9" creationId="{93DE1C76-EA16-4CE4-A203-F7C17752EF4C}"/>
          </ac:spMkLst>
        </pc:spChg>
      </pc:sldChg>
      <pc:sldChg chg="modSp">
        <pc:chgData name="Andy Isley" userId="86fc7312-e160-49fa-b241-408c12ce0f7b" providerId="ADAL" clId="{F0858F75-C906-472E-9372-937DC8287CF9}" dt="2018-07-17T16:04:29" v="2211" actId="20577"/>
        <pc:sldMkLst>
          <pc:docMk/>
          <pc:sldMk cId="440031955" sldId="397"/>
        </pc:sldMkLst>
        <pc:spChg chg="mod">
          <ac:chgData name="Andy Isley" userId="86fc7312-e160-49fa-b241-408c12ce0f7b" providerId="ADAL" clId="{F0858F75-C906-472E-9372-937DC8287CF9}" dt="2018-07-17T16:04:29" v="2211" actId="20577"/>
          <ac:spMkLst>
            <pc:docMk/>
            <pc:sldMk cId="440031955" sldId="397"/>
            <ac:spMk id="9" creationId="{93DE1C76-EA16-4CE4-A203-F7C17752EF4C}"/>
          </ac:spMkLst>
        </pc:spChg>
      </pc:sldChg>
      <pc:sldChg chg="modSp">
        <pc:chgData name="Andy Isley" userId="86fc7312-e160-49fa-b241-408c12ce0f7b" providerId="ADAL" clId="{F0858F75-C906-472E-9372-937DC8287CF9}" dt="2018-07-23T20:08:40.701" v="4187" actId="14734"/>
        <pc:sldMkLst>
          <pc:docMk/>
          <pc:sldMk cId="3995148161" sldId="398"/>
        </pc:sldMkLst>
        <pc:graphicFrameChg chg="mod modGraphic">
          <ac:chgData name="Andy Isley" userId="86fc7312-e160-49fa-b241-408c12ce0f7b" providerId="ADAL" clId="{F0858F75-C906-472E-9372-937DC8287CF9}" dt="2018-07-23T20:08:40.701" v="4187" actId="14734"/>
          <ac:graphicFrameMkLst>
            <pc:docMk/>
            <pc:sldMk cId="3995148161" sldId="398"/>
            <ac:graphicFrameMk id="25" creationId="{51C1E99E-53E9-4CE1-B781-7FB92570AAB3}"/>
          </ac:graphicFrameMkLst>
        </pc:graphicFrameChg>
      </pc:sldChg>
      <pc:sldChg chg="ord">
        <pc:chgData name="Andy Isley" userId="86fc7312-e160-49fa-b241-408c12ce0f7b" providerId="ADAL" clId="{F0858F75-C906-472E-9372-937DC8287CF9}" dt="2018-07-12T19:29:38.464" v="1523"/>
        <pc:sldMkLst>
          <pc:docMk/>
          <pc:sldMk cId="3388178661" sldId="401"/>
        </pc:sldMkLst>
      </pc:sldChg>
      <pc:sldChg chg="modSp">
        <pc:chgData name="Andy Isley" userId="86fc7312-e160-49fa-b241-408c12ce0f7b" providerId="ADAL" clId="{F0858F75-C906-472E-9372-937DC8287CF9}" dt="2018-08-14T19:14:11.712" v="12060" actId="20577"/>
        <pc:sldMkLst>
          <pc:docMk/>
          <pc:sldMk cId="1785722168" sldId="402"/>
        </pc:sldMkLst>
        <pc:graphicFrameChg chg="mod modGraphic">
          <ac:chgData name="Andy Isley" userId="86fc7312-e160-49fa-b241-408c12ce0f7b" providerId="ADAL" clId="{F0858F75-C906-472E-9372-937DC8287CF9}" dt="2018-08-14T19:14:11.712" v="12060" actId="20577"/>
          <ac:graphicFrameMkLst>
            <pc:docMk/>
            <pc:sldMk cId="1785722168" sldId="402"/>
            <ac:graphicFrameMk id="25" creationId="{E951E5CF-4256-4ED5-A32C-20D292BD76C8}"/>
          </ac:graphicFrameMkLst>
        </pc:graphicFrameChg>
      </pc:sldChg>
      <pc:sldChg chg="modSp">
        <pc:chgData name="Andy Isley" userId="86fc7312-e160-49fa-b241-408c12ce0f7b" providerId="ADAL" clId="{F0858F75-C906-472E-9372-937DC8287CF9}" dt="2018-07-20T19:19:13.700" v="4128"/>
        <pc:sldMkLst>
          <pc:docMk/>
          <pc:sldMk cId="3391008058" sldId="404"/>
        </pc:sldMkLst>
        <pc:spChg chg="mod">
          <ac:chgData name="Andy Isley" userId="86fc7312-e160-49fa-b241-408c12ce0f7b" providerId="ADAL" clId="{F0858F75-C906-472E-9372-937DC8287CF9}" dt="2018-07-19T21:24:39.103" v="4046" actId="20577"/>
          <ac:spMkLst>
            <pc:docMk/>
            <pc:sldMk cId="3391008058" sldId="404"/>
            <ac:spMk id="6" creationId="{44E5690F-35AB-40A3-AF7A-1F83F8B85A15}"/>
          </ac:spMkLst>
        </pc:spChg>
        <pc:graphicFrameChg chg="mod modGraphic">
          <ac:chgData name="Andy Isley" userId="86fc7312-e160-49fa-b241-408c12ce0f7b" providerId="ADAL" clId="{F0858F75-C906-472E-9372-937DC8287CF9}" dt="2018-07-20T19:19:13.700" v="4128"/>
          <ac:graphicFrameMkLst>
            <pc:docMk/>
            <pc:sldMk cId="3391008058" sldId="404"/>
            <ac:graphicFrameMk id="26" creationId="{359F5CE0-1DB8-4A99-A181-6DAD97338C6C}"/>
          </ac:graphicFrameMkLst>
        </pc:graphicFrameChg>
      </pc:sldChg>
      <pc:sldChg chg="modSp">
        <pc:chgData name="Andy Isley" userId="86fc7312-e160-49fa-b241-408c12ce0f7b" providerId="ADAL" clId="{F0858F75-C906-472E-9372-937DC8287CF9}" dt="2018-07-23T21:15:10.019" v="4355" actId="14100"/>
        <pc:sldMkLst>
          <pc:docMk/>
          <pc:sldMk cId="3065577866" sldId="406"/>
        </pc:sldMkLst>
        <pc:spChg chg="mod">
          <ac:chgData name="Andy Isley" userId="86fc7312-e160-49fa-b241-408c12ce0f7b" providerId="ADAL" clId="{F0858F75-C906-472E-9372-937DC8287CF9}" dt="2018-07-23T21:15:10.019" v="4355" actId="14100"/>
          <ac:spMkLst>
            <pc:docMk/>
            <pc:sldMk cId="3065577866" sldId="406"/>
            <ac:spMk id="34" creationId="{CF6098F2-155C-4EC0-BB5B-0EC597BFAF7B}"/>
          </ac:spMkLst>
        </pc:spChg>
      </pc:sldChg>
      <pc:sldChg chg="ord">
        <pc:chgData name="Andy Isley" userId="86fc7312-e160-49fa-b241-408c12ce0f7b" providerId="ADAL" clId="{F0858F75-C906-472E-9372-937DC8287CF9}" dt="2018-07-12T19:29:38.464" v="1523"/>
        <pc:sldMkLst>
          <pc:docMk/>
          <pc:sldMk cId="430787465" sldId="408"/>
        </pc:sldMkLst>
      </pc:sldChg>
      <pc:sldChg chg="modSp">
        <pc:chgData name="Andy Isley" userId="86fc7312-e160-49fa-b241-408c12ce0f7b" providerId="ADAL" clId="{F0858F75-C906-472E-9372-937DC8287CF9}" dt="2018-07-23T21:15:01.498" v="4346" actId="14100"/>
        <pc:sldMkLst>
          <pc:docMk/>
          <pc:sldMk cId="699144315" sldId="437"/>
        </pc:sldMkLst>
        <pc:spChg chg="mod">
          <ac:chgData name="Andy Isley" userId="86fc7312-e160-49fa-b241-408c12ce0f7b" providerId="ADAL" clId="{F0858F75-C906-472E-9372-937DC8287CF9}" dt="2018-07-23T21:15:01.498" v="4346" actId="14100"/>
          <ac:spMkLst>
            <pc:docMk/>
            <pc:sldMk cId="699144315" sldId="437"/>
            <ac:spMk id="41" creationId="{A7F8087F-9268-4535-86D1-EB20C04CA3A5}"/>
          </ac:spMkLst>
        </pc:spChg>
      </pc:sldChg>
      <pc:sldChg chg="delSp">
        <pc:chgData name="Andy Isley" userId="86fc7312-e160-49fa-b241-408c12ce0f7b" providerId="ADAL" clId="{F0858F75-C906-472E-9372-937DC8287CF9}" dt="2018-07-24T15:52:24.018" v="6638"/>
        <pc:sldMkLst>
          <pc:docMk/>
          <pc:sldMk cId="916043241" sldId="438"/>
        </pc:sldMkLst>
        <pc:spChg chg="del">
          <ac:chgData name="Andy Isley" userId="86fc7312-e160-49fa-b241-408c12ce0f7b" providerId="ADAL" clId="{F0858F75-C906-472E-9372-937DC8287CF9}" dt="2018-07-24T15:52:24.018" v="6638"/>
          <ac:spMkLst>
            <pc:docMk/>
            <pc:sldMk cId="916043241" sldId="438"/>
            <ac:spMk id="15" creationId="{58E94610-840D-45E2-A596-3EE5E084A20A}"/>
          </ac:spMkLst>
        </pc:spChg>
      </pc:sldChg>
      <pc:sldChg chg="modSp add">
        <pc:chgData name="Andy Isley" userId="86fc7312-e160-49fa-b241-408c12ce0f7b" providerId="ADAL" clId="{F0858F75-C906-472E-9372-937DC8287CF9}" dt="2018-08-14T19:33:53.444" v="12154" actId="20577"/>
        <pc:sldMkLst>
          <pc:docMk/>
          <pc:sldMk cId="3492624235" sldId="442"/>
        </pc:sldMkLst>
        <pc:spChg chg="mod">
          <ac:chgData name="Andy Isley" userId="86fc7312-e160-49fa-b241-408c12ce0f7b" providerId="ADAL" clId="{F0858F75-C906-472E-9372-937DC8287CF9}" dt="2018-08-14T19:33:53.444" v="12154" actId="20577"/>
          <ac:spMkLst>
            <pc:docMk/>
            <pc:sldMk cId="3492624235" sldId="442"/>
            <ac:spMk id="26" creationId="{CA1211CA-CC88-4AFF-BCD0-981367D2CA89}"/>
          </ac:spMkLst>
        </pc:spChg>
      </pc:sldChg>
      <pc:sldChg chg="modSp">
        <pc:chgData name="Andy Isley" userId="86fc7312-e160-49fa-b241-408c12ce0f7b" providerId="ADAL" clId="{F0858F75-C906-472E-9372-937DC8287CF9}" dt="2018-07-11T20:20:06.151" v="925" actId="20577"/>
        <pc:sldMkLst>
          <pc:docMk/>
          <pc:sldMk cId="202125828" sldId="443"/>
        </pc:sldMkLst>
        <pc:spChg chg="mod">
          <ac:chgData name="Andy Isley" userId="86fc7312-e160-49fa-b241-408c12ce0f7b" providerId="ADAL" clId="{F0858F75-C906-472E-9372-937DC8287CF9}" dt="2018-07-11T20:20:06.151" v="925" actId="20577"/>
          <ac:spMkLst>
            <pc:docMk/>
            <pc:sldMk cId="202125828" sldId="443"/>
            <ac:spMk id="6" creationId="{44E5690F-35AB-40A3-AF7A-1F83F8B85A15}"/>
          </ac:spMkLst>
        </pc:spChg>
      </pc:sldChg>
      <pc:sldChg chg="delSp modSp">
        <pc:chgData name="Andy Isley" userId="86fc7312-e160-49fa-b241-408c12ce0f7b" providerId="ADAL" clId="{F0858F75-C906-472E-9372-937DC8287CF9}" dt="2018-07-11T20:19:20.840" v="900" actId="20577"/>
        <pc:sldMkLst>
          <pc:docMk/>
          <pc:sldMk cId="2612977556" sldId="445"/>
        </pc:sldMkLst>
        <pc:spChg chg="mod">
          <ac:chgData name="Andy Isley" userId="86fc7312-e160-49fa-b241-408c12ce0f7b" providerId="ADAL" clId="{F0858F75-C906-472E-9372-937DC8287CF9}" dt="2018-07-11T19:49:43.317" v="8" actId="6549"/>
          <ac:spMkLst>
            <pc:docMk/>
            <pc:sldMk cId="2612977556" sldId="445"/>
            <ac:spMk id="6" creationId="{44E5690F-35AB-40A3-AF7A-1F83F8B85A15}"/>
          </ac:spMkLst>
        </pc:spChg>
        <pc:spChg chg="mod">
          <ac:chgData name="Andy Isley" userId="86fc7312-e160-49fa-b241-408c12ce0f7b" providerId="ADAL" clId="{F0858F75-C906-472E-9372-937DC8287CF9}" dt="2018-07-11T20:19:20.840" v="900" actId="20577"/>
          <ac:spMkLst>
            <pc:docMk/>
            <pc:sldMk cId="2612977556" sldId="445"/>
            <ac:spMk id="37" creationId="{1EC0BE6D-FEF7-491F-AB0E-8B9E0DE93206}"/>
          </ac:spMkLst>
        </pc:spChg>
        <pc:graphicFrameChg chg="del">
          <ac:chgData name="Andy Isley" userId="86fc7312-e160-49fa-b241-408c12ce0f7b" providerId="ADAL" clId="{F0858F75-C906-472E-9372-937DC8287CF9}" dt="2018-07-11T19:49:47.584" v="9" actId="478"/>
          <ac:graphicFrameMkLst>
            <pc:docMk/>
            <pc:sldMk cId="2612977556" sldId="445"/>
            <ac:graphicFrameMk id="38" creationId="{DE1FD390-CD18-44F1-B954-149A725717F9}"/>
          </ac:graphicFrameMkLst>
        </pc:graphicFrameChg>
      </pc:sldChg>
      <pc:sldChg chg="add ord">
        <pc:chgData name="Andy Isley" userId="86fc7312-e160-49fa-b241-408c12ce0f7b" providerId="ADAL" clId="{F0858F75-C906-472E-9372-937DC8287CF9}" dt="2018-08-14T17:44:47.602" v="11729"/>
        <pc:sldMkLst>
          <pc:docMk/>
          <pc:sldMk cId="74527895" sldId="446"/>
        </pc:sldMkLst>
      </pc:sldChg>
      <pc:sldChg chg="delSp modSp add">
        <pc:chgData name="Andy Isley" userId="86fc7312-e160-49fa-b241-408c12ce0f7b" providerId="ADAL" clId="{F0858F75-C906-472E-9372-937DC8287CF9}" dt="2018-07-11T20:40:13.211" v="1266" actId="20577"/>
        <pc:sldMkLst>
          <pc:docMk/>
          <pc:sldMk cId="323447461" sldId="449"/>
        </pc:sldMkLst>
        <pc:spChg chg="mod">
          <ac:chgData name="Andy Isley" userId="86fc7312-e160-49fa-b241-408c12ce0f7b" providerId="ADAL" clId="{F0858F75-C906-472E-9372-937DC8287CF9}" dt="2018-07-11T20:40:13.211" v="1266" actId="20577"/>
          <ac:spMkLst>
            <pc:docMk/>
            <pc:sldMk cId="323447461" sldId="449"/>
            <ac:spMk id="6" creationId="{44E5690F-35AB-40A3-AF7A-1F83F8B85A15}"/>
          </ac:spMkLst>
        </pc:spChg>
        <pc:spChg chg="mod">
          <ac:chgData name="Andy Isley" userId="86fc7312-e160-49fa-b241-408c12ce0f7b" providerId="ADAL" clId="{F0858F75-C906-472E-9372-937DC8287CF9}" dt="2018-07-11T20:38:02.600" v="1233" actId="2085"/>
          <ac:spMkLst>
            <pc:docMk/>
            <pc:sldMk cId="323447461" sldId="449"/>
            <ac:spMk id="26" creationId="{034A1943-95FC-460C-A55E-55A94B93970E}"/>
          </ac:spMkLst>
        </pc:spChg>
        <pc:spChg chg="del">
          <ac:chgData name="Andy Isley" userId="86fc7312-e160-49fa-b241-408c12ce0f7b" providerId="ADAL" clId="{F0858F75-C906-472E-9372-937DC8287CF9}" dt="2018-07-11T20:38:11.686" v="1236" actId="478"/>
          <ac:spMkLst>
            <pc:docMk/>
            <pc:sldMk cId="323447461" sldId="449"/>
            <ac:spMk id="27" creationId="{FE182B9F-002B-4F8D-AA12-B3879C5E6886}"/>
          </ac:spMkLst>
        </pc:spChg>
        <pc:spChg chg="del">
          <ac:chgData name="Andy Isley" userId="86fc7312-e160-49fa-b241-408c12ce0f7b" providerId="ADAL" clId="{F0858F75-C906-472E-9372-937DC8287CF9}" dt="2018-07-11T20:38:14.309" v="1237" actId="478"/>
          <ac:spMkLst>
            <pc:docMk/>
            <pc:sldMk cId="323447461" sldId="449"/>
            <ac:spMk id="28" creationId="{67F66421-BF49-4161-A2DF-7E63050FAD5B}"/>
          </ac:spMkLst>
        </pc:spChg>
        <pc:graphicFrameChg chg="mod modGraphic">
          <ac:chgData name="Andy Isley" userId="86fc7312-e160-49fa-b241-408c12ce0f7b" providerId="ADAL" clId="{F0858F75-C906-472E-9372-937DC8287CF9}" dt="2018-07-11T20:38:50.058" v="1247" actId="14100"/>
          <ac:graphicFrameMkLst>
            <pc:docMk/>
            <pc:sldMk cId="323447461" sldId="449"/>
            <ac:graphicFrameMk id="5" creationId="{F1BB3BCF-9A8D-4FD7-9930-FE0475741615}"/>
          </ac:graphicFrameMkLst>
        </pc:graphicFrameChg>
        <pc:picChg chg="mod">
          <ac:chgData name="Andy Isley" userId="86fc7312-e160-49fa-b241-408c12ce0f7b" providerId="ADAL" clId="{F0858F75-C906-472E-9372-937DC8287CF9}" dt="2018-07-11T20:38:46.225" v="1246" actId="1076"/>
          <ac:picMkLst>
            <pc:docMk/>
            <pc:sldMk cId="323447461" sldId="449"/>
            <ac:picMk id="3" creationId="{DA8063BF-D536-4BD0-9853-76C830AFCDDE}"/>
          </ac:picMkLst>
        </pc:picChg>
        <pc:picChg chg="del">
          <ac:chgData name="Andy Isley" userId="86fc7312-e160-49fa-b241-408c12ce0f7b" providerId="ADAL" clId="{F0858F75-C906-472E-9372-937DC8287CF9}" dt="2018-07-11T20:38:09.842" v="1235" actId="478"/>
          <ac:picMkLst>
            <pc:docMk/>
            <pc:sldMk cId="323447461" sldId="449"/>
            <ac:picMk id="4" creationId="{4D8E45B6-68EA-4761-B150-348E3F78A7AE}"/>
          </ac:picMkLst>
        </pc:picChg>
      </pc:sldChg>
      <pc:sldChg chg="modSp">
        <pc:chgData name="Andy Isley" userId="86fc7312-e160-49fa-b241-408c12ce0f7b" providerId="ADAL" clId="{F0858F75-C906-472E-9372-937DC8287CF9}" dt="2018-07-11T20:40:51.753" v="1294" actId="20577"/>
        <pc:sldMkLst>
          <pc:docMk/>
          <pc:sldMk cId="4180194822" sldId="450"/>
        </pc:sldMkLst>
        <pc:spChg chg="mod">
          <ac:chgData name="Andy Isley" userId="86fc7312-e160-49fa-b241-408c12ce0f7b" providerId="ADAL" clId="{F0858F75-C906-472E-9372-937DC8287CF9}" dt="2018-07-11T20:40:51.753" v="1294" actId="20577"/>
          <ac:spMkLst>
            <pc:docMk/>
            <pc:sldMk cId="4180194822" sldId="450"/>
            <ac:spMk id="6" creationId="{44E5690F-35AB-40A3-AF7A-1F83F8B85A15}"/>
          </ac:spMkLst>
        </pc:spChg>
      </pc:sldChg>
      <pc:sldChg chg="delSp modSp">
        <pc:chgData name="Andy Isley" userId="86fc7312-e160-49fa-b241-408c12ce0f7b" providerId="ADAL" clId="{F0858F75-C906-472E-9372-937DC8287CF9}" dt="2018-07-12T19:25:51.476" v="1486" actId="1076"/>
        <pc:sldMkLst>
          <pc:docMk/>
          <pc:sldMk cId="2253207452" sldId="453"/>
        </pc:sldMkLst>
        <pc:spChg chg="mod">
          <ac:chgData name="Andy Isley" userId="86fc7312-e160-49fa-b241-408c12ce0f7b" providerId="ADAL" clId="{F0858F75-C906-472E-9372-937DC8287CF9}" dt="2018-07-12T19:21:01.932" v="1312" actId="20577"/>
          <ac:spMkLst>
            <pc:docMk/>
            <pc:sldMk cId="2253207452" sldId="453"/>
            <ac:spMk id="6" creationId="{44E5690F-35AB-40A3-AF7A-1F83F8B85A15}"/>
          </ac:spMkLst>
        </pc:spChg>
        <pc:spChg chg="mod">
          <ac:chgData name="Andy Isley" userId="86fc7312-e160-49fa-b241-408c12ce0f7b" providerId="ADAL" clId="{F0858F75-C906-472E-9372-937DC8287CF9}" dt="2018-07-12T19:21:59.091" v="1316" actId="14100"/>
          <ac:spMkLst>
            <pc:docMk/>
            <pc:sldMk cId="2253207452" sldId="453"/>
            <ac:spMk id="26" creationId="{034A1943-95FC-460C-A55E-55A94B93970E}"/>
          </ac:spMkLst>
        </pc:spChg>
        <pc:graphicFrameChg chg="mod modGraphic">
          <ac:chgData name="Andy Isley" userId="86fc7312-e160-49fa-b241-408c12ce0f7b" providerId="ADAL" clId="{F0858F75-C906-472E-9372-937DC8287CF9}" dt="2018-07-12T19:25:51.476" v="1486" actId="1076"/>
          <ac:graphicFrameMkLst>
            <pc:docMk/>
            <pc:sldMk cId="2253207452" sldId="453"/>
            <ac:graphicFrameMk id="5" creationId="{F1BB3BCF-9A8D-4FD7-9930-FE0475741615}"/>
          </ac:graphicFrameMkLst>
        </pc:graphicFrameChg>
        <pc:picChg chg="del">
          <ac:chgData name="Andy Isley" userId="86fc7312-e160-49fa-b241-408c12ce0f7b" providerId="ADAL" clId="{F0858F75-C906-472E-9372-937DC8287CF9}" dt="2018-07-12T19:21:12.719" v="1313" actId="478"/>
          <ac:picMkLst>
            <pc:docMk/>
            <pc:sldMk cId="2253207452" sldId="453"/>
            <ac:picMk id="3" creationId="{DA8063BF-D536-4BD0-9853-76C830AFCDDE}"/>
          </ac:picMkLst>
        </pc:picChg>
      </pc:sldChg>
      <pc:sldChg chg="add setBg">
        <pc:chgData name="Andy Isley" userId="86fc7312-e160-49fa-b241-408c12ce0f7b" providerId="ADAL" clId="{F0858F75-C906-472E-9372-937DC8287CF9}" dt="2018-07-12T19:23:02.570" v="1340"/>
        <pc:sldMkLst>
          <pc:docMk/>
          <pc:sldMk cId="2683598569" sldId="454"/>
        </pc:sldMkLst>
      </pc:sldChg>
      <pc:sldChg chg="modSp delCm">
        <pc:chgData name="Andy Isley" userId="86fc7312-e160-49fa-b241-408c12ce0f7b" providerId="ADAL" clId="{F0858F75-C906-472E-9372-937DC8287CF9}" dt="2018-07-17T15:36:42.397" v="1737" actId="113"/>
        <pc:sldMkLst>
          <pc:docMk/>
          <pc:sldMk cId="3579175339" sldId="455"/>
        </pc:sldMkLst>
        <pc:spChg chg="mod">
          <ac:chgData name="Andy Isley" userId="86fc7312-e160-49fa-b241-408c12ce0f7b" providerId="ADAL" clId="{F0858F75-C906-472E-9372-937DC8287CF9}" dt="2018-07-17T15:36:42.397" v="1737" actId="113"/>
          <ac:spMkLst>
            <pc:docMk/>
            <pc:sldMk cId="3579175339" sldId="455"/>
            <ac:spMk id="9" creationId="{93DE1C76-EA16-4CE4-A203-F7C17752EF4C}"/>
          </ac:spMkLst>
        </pc:spChg>
      </pc:sldChg>
      <pc:sldChg chg="modSp">
        <pc:chgData name="Andy Isley" userId="86fc7312-e160-49fa-b241-408c12ce0f7b" providerId="ADAL" clId="{F0858F75-C906-472E-9372-937DC8287CF9}" dt="2018-07-17T16:03:51.660" v="2126" actId="20577"/>
        <pc:sldMkLst>
          <pc:docMk/>
          <pc:sldMk cId="399961941" sldId="456"/>
        </pc:sldMkLst>
        <pc:spChg chg="mod">
          <ac:chgData name="Andy Isley" userId="86fc7312-e160-49fa-b241-408c12ce0f7b" providerId="ADAL" clId="{F0858F75-C906-472E-9372-937DC8287CF9}" dt="2018-07-17T16:03:51.660" v="2126" actId="20577"/>
          <ac:spMkLst>
            <pc:docMk/>
            <pc:sldMk cId="399961941" sldId="456"/>
            <ac:spMk id="9" creationId="{93DE1C76-EA16-4CE4-A203-F7C17752EF4C}"/>
          </ac:spMkLst>
        </pc:spChg>
      </pc:sldChg>
      <pc:sldChg chg="addSp delSp modSp add ord">
        <pc:chgData name="Andy Isley" userId="86fc7312-e160-49fa-b241-408c12ce0f7b" providerId="ADAL" clId="{F0858F75-C906-472E-9372-937DC8287CF9}" dt="2018-08-14T17:37:31.199" v="11495" actId="14100"/>
        <pc:sldMkLst>
          <pc:docMk/>
          <pc:sldMk cId="2801252256" sldId="461"/>
        </pc:sldMkLst>
        <pc:spChg chg="add del mod">
          <ac:chgData name="Andy Isley" userId="86fc7312-e160-49fa-b241-408c12ce0f7b" providerId="ADAL" clId="{F0858F75-C906-472E-9372-937DC8287CF9}" dt="2018-07-19T15:31:02.301" v="2929"/>
          <ac:spMkLst>
            <pc:docMk/>
            <pc:sldMk cId="2801252256" sldId="461"/>
            <ac:spMk id="2" creationId="{EE70C0C6-BBF8-4C7E-B551-01D127891A38}"/>
          </ac:spMkLst>
        </pc:spChg>
        <pc:spChg chg="add mod">
          <ac:chgData name="Andy Isley" userId="86fc7312-e160-49fa-b241-408c12ce0f7b" providerId="ADAL" clId="{F0858F75-C906-472E-9372-937DC8287CF9}" dt="2018-07-23T21:26:43.972" v="4369" actId="20577"/>
          <ac:spMkLst>
            <pc:docMk/>
            <pc:sldMk cId="2801252256" sldId="461"/>
            <ac:spMk id="4" creationId="{8973E782-393A-46BB-8B95-A1FDFE7F17EF}"/>
          </ac:spMkLst>
        </pc:spChg>
        <pc:spChg chg="mod">
          <ac:chgData name="Andy Isley" userId="86fc7312-e160-49fa-b241-408c12ce0f7b" providerId="ADAL" clId="{F0858F75-C906-472E-9372-937DC8287CF9}" dt="2018-07-17T16:53:26.066" v="2879" actId="313"/>
          <ac:spMkLst>
            <pc:docMk/>
            <pc:sldMk cId="2801252256" sldId="461"/>
            <ac:spMk id="6" creationId="{44E5690F-35AB-40A3-AF7A-1F83F8B85A15}"/>
          </ac:spMkLst>
        </pc:spChg>
        <pc:spChg chg="mod">
          <ac:chgData name="Andy Isley" userId="86fc7312-e160-49fa-b241-408c12ce0f7b" providerId="ADAL" clId="{F0858F75-C906-472E-9372-937DC8287CF9}" dt="2018-07-17T16:14:48.178" v="2865" actId="5793"/>
          <ac:spMkLst>
            <pc:docMk/>
            <pc:sldMk cId="2801252256" sldId="461"/>
            <ac:spMk id="25" creationId="{B7D8A3F1-216C-4798-B65D-1A336BDC030D}"/>
          </ac:spMkLst>
        </pc:spChg>
        <pc:picChg chg="add mod">
          <ac:chgData name="Andy Isley" userId="86fc7312-e160-49fa-b241-408c12ce0f7b" providerId="ADAL" clId="{F0858F75-C906-472E-9372-937DC8287CF9}" dt="2018-08-14T17:37:31.199" v="11495" actId="14100"/>
          <ac:picMkLst>
            <pc:docMk/>
            <pc:sldMk cId="2801252256" sldId="461"/>
            <ac:picMk id="3" creationId="{CE0404D2-46BE-4E9D-A15A-4C3F39D94568}"/>
          </ac:picMkLst>
        </pc:picChg>
      </pc:sldChg>
      <pc:sldChg chg="addSp modSp add ord">
        <pc:chgData name="Andy Isley" userId="86fc7312-e160-49fa-b241-408c12ce0f7b" providerId="ADAL" clId="{F0858F75-C906-472E-9372-937DC8287CF9}" dt="2018-08-14T17:38:20.011" v="11558" actId="20577"/>
        <pc:sldMkLst>
          <pc:docMk/>
          <pc:sldMk cId="193079449" sldId="462"/>
        </pc:sldMkLst>
        <pc:spChg chg="mod">
          <ac:chgData name="Andy Isley" userId="86fc7312-e160-49fa-b241-408c12ce0f7b" providerId="ADAL" clId="{F0858F75-C906-472E-9372-937DC8287CF9}" dt="2018-07-17T16:53:40.467" v="2897" actId="20577"/>
          <ac:spMkLst>
            <pc:docMk/>
            <pc:sldMk cId="193079449" sldId="462"/>
            <ac:spMk id="6" creationId="{44E5690F-35AB-40A3-AF7A-1F83F8B85A15}"/>
          </ac:spMkLst>
        </pc:spChg>
        <pc:spChg chg="add mod">
          <ac:chgData name="Andy Isley" userId="86fc7312-e160-49fa-b241-408c12ce0f7b" providerId="ADAL" clId="{F0858F75-C906-472E-9372-937DC8287CF9}" dt="2018-08-14T17:38:20.011" v="11558" actId="20577"/>
          <ac:spMkLst>
            <pc:docMk/>
            <pc:sldMk cId="193079449" sldId="462"/>
            <ac:spMk id="26" creationId="{864C1EFC-A0AD-484E-892A-C054B28E1D92}"/>
          </ac:spMkLst>
        </pc:spChg>
      </pc:sldChg>
      <pc:sldChg chg="addSp modSp add">
        <pc:chgData name="Andy Isley" userId="86fc7312-e160-49fa-b241-408c12ce0f7b" providerId="ADAL" clId="{F0858F75-C906-472E-9372-937DC8287CF9}" dt="2018-08-14T17:41:42.882" v="11659" actId="20577"/>
        <pc:sldMkLst>
          <pc:docMk/>
          <pc:sldMk cId="4050245779" sldId="463"/>
        </pc:sldMkLst>
        <pc:spChg chg="mod">
          <ac:chgData name="Andy Isley" userId="86fc7312-e160-49fa-b241-408c12ce0f7b" providerId="ADAL" clId="{F0858F75-C906-472E-9372-937DC8287CF9}" dt="2018-07-17T16:54:00.203" v="2923" actId="20577"/>
          <ac:spMkLst>
            <pc:docMk/>
            <pc:sldMk cId="4050245779" sldId="463"/>
            <ac:spMk id="6" creationId="{44E5690F-35AB-40A3-AF7A-1F83F8B85A15}"/>
          </ac:spMkLst>
        </pc:spChg>
        <pc:spChg chg="add mod">
          <ac:chgData name="Andy Isley" userId="86fc7312-e160-49fa-b241-408c12ce0f7b" providerId="ADAL" clId="{F0858F75-C906-472E-9372-937DC8287CF9}" dt="2018-08-14T17:41:42.882" v="11659" actId="20577"/>
          <ac:spMkLst>
            <pc:docMk/>
            <pc:sldMk cId="4050245779" sldId="463"/>
            <ac:spMk id="26" creationId="{1970D782-13ED-48D1-82C7-0236E9521D7F}"/>
          </ac:spMkLst>
        </pc:spChg>
      </pc:sldChg>
      <pc:sldChg chg="addSp delSp modSp add ord">
        <pc:chgData name="Andy Isley" userId="86fc7312-e160-49fa-b241-408c12ce0f7b" providerId="ADAL" clId="{F0858F75-C906-472E-9372-937DC8287CF9}" dt="2018-08-14T17:35:21.212" v="11480" actId="6549"/>
        <pc:sldMkLst>
          <pc:docMk/>
          <pc:sldMk cId="1421016014" sldId="464"/>
        </pc:sldMkLst>
        <pc:spChg chg="del">
          <ac:chgData name="Andy Isley" userId="86fc7312-e160-49fa-b241-408c12ce0f7b" providerId="ADAL" clId="{F0858F75-C906-472E-9372-937DC8287CF9}" dt="2018-07-19T15:47:26.938" v="3052" actId="478"/>
          <ac:spMkLst>
            <pc:docMk/>
            <pc:sldMk cId="1421016014" sldId="464"/>
            <ac:spMk id="4" creationId="{8973E782-393A-46BB-8B95-A1FDFE7F17EF}"/>
          </ac:spMkLst>
        </pc:spChg>
        <pc:spChg chg="mod">
          <ac:chgData name="Andy Isley" userId="86fc7312-e160-49fa-b241-408c12ce0f7b" providerId="ADAL" clId="{F0858F75-C906-472E-9372-937DC8287CF9}" dt="2018-07-19T15:47:11.881" v="3050" actId="20577"/>
          <ac:spMkLst>
            <pc:docMk/>
            <pc:sldMk cId="1421016014" sldId="464"/>
            <ac:spMk id="6" creationId="{44E5690F-35AB-40A3-AF7A-1F83F8B85A15}"/>
          </ac:spMkLst>
        </pc:spChg>
        <pc:spChg chg="add mod">
          <ac:chgData name="Andy Isley" userId="86fc7312-e160-49fa-b241-408c12ce0f7b" providerId="ADAL" clId="{F0858F75-C906-472E-9372-937DC8287CF9}" dt="2018-08-14T17:35:21.212" v="11480" actId="6549"/>
          <ac:spMkLst>
            <pc:docMk/>
            <pc:sldMk cId="1421016014" sldId="464"/>
            <ac:spMk id="26" creationId="{E5AE025A-718D-44F7-BA6A-95CA79944EB5}"/>
          </ac:spMkLst>
        </pc:spChg>
        <pc:picChg chg="del">
          <ac:chgData name="Andy Isley" userId="86fc7312-e160-49fa-b241-408c12ce0f7b" providerId="ADAL" clId="{F0858F75-C906-472E-9372-937DC8287CF9}" dt="2018-07-19T15:33:21.628" v="3021" actId="478"/>
          <ac:picMkLst>
            <pc:docMk/>
            <pc:sldMk cId="1421016014" sldId="464"/>
            <ac:picMk id="3" creationId="{CE0404D2-46BE-4E9D-A15A-4C3F39D94568}"/>
          </ac:picMkLst>
        </pc:picChg>
      </pc:sldChg>
      <pc:sldChg chg="addSp delSp modSp add">
        <pc:chgData name="Andy Isley" userId="86fc7312-e160-49fa-b241-408c12ce0f7b" providerId="ADAL" clId="{F0858F75-C906-472E-9372-937DC8287CF9}" dt="2018-07-23T19:13:43.119" v="4151" actId="1076"/>
        <pc:sldMkLst>
          <pc:docMk/>
          <pc:sldMk cId="1299221932" sldId="465"/>
        </pc:sldMkLst>
        <pc:spChg chg="add del mod">
          <ac:chgData name="Andy Isley" userId="86fc7312-e160-49fa-b241-408c12ce0f7b" providerId="ADAL" clId="{F0858F75-C906-472E-9372-937DC8287CF9}" dt="2018-07-19T15:55:00.015" v="3411" actId="478"/>
          <ac:spMkLst>
            <pc:docMk/>
            <pc:sldMk cId="1299221932" sldId="465"/>
            <ac:spMk id="2" creationId="{305F49B5-6D14-486A-8B46-C2A682D6BF7C}"/>
          </ac:spMkLst>
        </pc:spChg>
        <pc:spChg chg="mod">
          <ac:chgData name="Andy Isley" userId="86fc7312-e160-49fa-b241-408c12ce0f7b" providerId="ADAL" clId="{F0858F75-C906-472E-9372-937DC8287CF9}" dt="2018-07-19T15:55:16.783" v="3441" actId="20577"/>
          <ac:spMkLst>
            <pc:docMk/>
            <pc:sldMk cId="1299221932" sldId="465"/>
            <ac:spMk id="6" creationId="{44E5690F-35AB-40A3-AF7A-1F83F8B85A15}"/>
          </ac:spMkLst>
        </pc:spChg>
        <pc:spChg chg="del mod">
          <ac:chgData name="Andy Isley" userId="86fc7312-e160-49fa-b241-408c12ce0f7b" providerId="ADAL" clId="{F0858F75-C906-472E-9372-937DC8287CF9}" dt="2018-07-19T15:59:14.748" v="3758" actId="478"/>
          <ac:spMkLst>
            <pc:docMk/>
            <pc:sldMk cId="1299221932" sldId="465"/>
            <ac:spMk id="25" creationId="{B7D8A3F1-216C-4798-B65D-1A336BDC030D}"/>
          </ac:spMkLst>
        </pc:spChg>
        <pc:spChg chg="add mod">
          <ac:chgData name="Andy Isley" userId="86fc7312-e160-49fa-b241-408c12ce0f7b" providerId="ADAL" clId="{F0858F75-C906-472E-9372-937DC8287CF9}" dt="2018-07-23T19:13:43.119" v="4151" actId="1076"/>
          <ac:spMkLst>
            <pc:docMk/>
            <pc:sldMk cId="1299221932" sldId="465"/>
            <ac:spMk id="26" creationId="{DE0C95D9-BA7A-4A4A-9EF0-09069615E3D3}"/>
          </ac:spMkLst>
        </pc:spChg>
      </pc:sldChg>
      <pc:sldChg chg="delSp modSp add">
        <pc:chgData name="Andy Isley" userId="86fc7312-e160-49fa-b241-408c12ce0f7b" providerId="ADAL" clId="{F0858F75-C906-472E-9372-937DC8287CF9}" dt="2018-08-14T17:37:12.975" v="11494" actId="6549"/>
        <pc:sldMkLst>
          <pc:docMk/>
          <pc:sldMk cId="1491191598" sldId="466"/>
        </pc:sldMkLst>
        <pc:spChg chg="mod">
          <ac:chgData name="Andy Isley" userId="86fc7312-e160-49fa-b241-408c12ce0f7b" providerId="ADAL" clId="{F0858F75-C906-472E-9372-937DC8287CF9}" dt="2018-08-14T17:37:12.975" v="11494" actId="6549"/>
          <ac:spMkLst>
            <pc:docMk/>
            <pc:sldMk cId="1491191598" sldId="466"/>
            <ac:spMk id="2" creationId="{305F49B5-6D14-486A-8B46-C2A682D6BF7C}"/>
          </ac:spMkLst>
        </pc:spChg>
        <pc:spChg chg="del">
          <ac:chgData name="Andy Isley" userId="86fc7312-e160-49fa-b241-408c12ce0f7b" providerId="ADAL" clId="{F0858F75-C906-472E-9372-937DC8287CF9}" dt="2018-07-19T15:59:20.963" v="3760" actId="478"/>
          <ac:spMkLst>
            <pc:docMk/>
            <pc:sldMk cId="1491191598" sldId="466"/>
            <ac:spMk id="26" creationId="{DE0C95D9-BA7A-4A4A-9EF0-09069615E3D3}"/>
          </ac:spMkLst>
        </pc:spChg>
      </pc:sldChg>
      <pc:sldChg chg="delSp modSp ord">
        <pc:chgData name="Andy Isley" userId="86fc7312-e160-49fa-b241-408c12ce0f7b" providerId="ADAL" clId="{F0858F75-C906-472E-9372-937DC8287CF9}" dt="2018-07-24T19:02:15.911" v="7660" actId="1076"/>
        <pc:sldMkLst>
          <pc:docMk/>
          <pc:sldMk cId="3506481604" sldId="467"/>
        </pc:sldMkLst>
        <pc:spChg chg="mod">
          <ac:chgData name="Andy Isley" userId="86fc7312-e160-49fa-b241-408c12ce0f7b" providerId="ADAL" clId="{F0858F75-C906-472E-9372-937DC8287CF9}" dt="2018-07-24T18:37:46.425" v="7643" actId="20577"/>
          <ac:spMkLst>
            <pc:docMk/>
            <pc:sldMk cId="3506481604" sldId="467"/>
            <ac:spMk id="6" creationId="{44E5690F-35AB-40A3-AF7A-1F83F8B85A15}"/>
          </ac:spMkLst>
        </pc:spChg>
        <pc:spChg chg="mod">
          <ac:chgData name="Andy Isley" userId="86fc7312-e160-49fa-b241-408c12ce0f7b" providerId="ADAL" clId="{F0858F75-C906-472E-9372-937DC8287CF9}" dt="2018-07-24T18:38:17.840" v="7659" actId="14100"/>
          <ac:spMkLst>
            <pc:docMk/>
            <pc:sldMk cId="3506481604" sldId="467"/>
            <ac:spMk id="25" creationId="{F7744A62-7662-4667-98A7-FF2A4C5D7492}"/>
          </ac:spMkLst>
        </pc:spChg>
        <pc:spChg chg="del mod">
          <ac:chgData name="Andy Isley" userId="86fc7312-e160-49fa-b241-408c12ce0f7b" providerId="ADAL" clId="{F0858F75-C906-472E-9372-937DC8287CF9}" dt="2018-07-24T18:34:21.140" v="7229" actId="478"/>
          <ac:spMkLst>
            <pc:docMk/>
            <pc:sldMk cId="3506481604" sldId="467"/>
            <ac:spMk id="30" creationId="{F8E8EF4F-38F4-45B1-93A8-D8ACA503AFB0}"/>
          </ac:spMkLst>
        </pc:spChg>
        <pc:spChg chg="del mod">
          <ac:chgData name="Andy Isley" userId="86fc7312-e160-49fa-b241-408c12ce0f7b" providerId="ADAL" clId="{F0858F75-C906-472E-9372-937DC8287CF9}" dt="2018-07-24T18:32:26.177" v="7189" actId="478"/>
          <ac:spMkLst>
            <pc:docMk/>
            <pc:sldMk cId="3506481604" sldId="467"/>
            <ac:spMk id="33" creationId="{92E4E159-20DF-4DE7-B740-EF5F41F32B19}"/>
          </ac:spMkLst>
        </pc:spChg>
        <pc:spChg chg="mod">
          <ac:chgData name="Andy Isley" userId="86fc7312-e160-49fa-b241-408c12ce0f7b" providerId="ADAL" clId="{F0858F75-C906-472E-9372-937DC8287CF9}" dt="2018-07-24T19:02:15.911" v="7660" actId="1076"/>
          <ac:spMkLst>
            <pc:docMk/>
            <pc:sldMk cId="3506481604" sldId="467"/>
            <ac:spMk id="36" creationId="{07A6AD12-DA03-4E52-A1F0-B0351663C419}"/>
          </ac:spMkLst>
        </pc:spChg>
      </pc:sldChg>
      <pc:sldChg chg="delSp modSp modNotesTx">
        <pc:chgData name="Andy Isley" userId="86fc7312-e160-49fa-b241-408c12ce0f7b" providerId="ADAL" clId="{F0858F75-C906-472E-9372-937DC8287CF9}" dt="2018-07-30T13:26:41.363" v="9401" actId="20577"/>
        <pc:sldMkLst>
          <pc:docMk/>
          <pc:sldMk cId="2186693494" sldId="472"/>
        </pc:sldMkLst>
        <pc:spChg chg="mod">
          <ac:chgData name="Andy Isley" userId="86fc7312-e160-49fa-b241-408c12ce0f7b" providerId="ADAL" clId="{F0858F75-C906-472E-9372-937DC8287CF9}" dt="2018-07-30T13:26:41.363" v="9401" actId="20577"/>
          <ac:spMkLst>
            <pc:docMk/>
            <pc:sldMk cId="2186693494" sldId="472"/>
            <ac:spMk id="6" creationId="{44E5690F-35AB-40A3-AF7A-1F83F8B85A15}"/>
          </ac:spMkLst>
        </pc:spChg>
        <pc:spChg chg="del mod">
          <ac:chgData name="Andy Isley" userId="86fc7312-e160-49fa-b241-408c12ce0f7b" providerId="ADAL" clId="{F0858F75-C906-472E-9372-937DC8287CF9}" dt="2018-07-24T15:42:18.875" v="6160" actId="478"/>
          <ac:spMkLst>
            <pc:docMk/>
            <pc:sldMk cId="2186693494" sldId="472"/>
            <ac:spMk id="37" creationId="{1EC0BE6D-FEF7-491F-AB0E-8B9E0DE93206}"/>
          </ac:spMkLst>
        </pc:spChg>
        <pc:graphicFrameChg chg="mod modGraphic">
          <ac:chgData name="Andy Isley" userId="86fc7312-e160-49fa-b241-408c12ce0f7b" providerId="ADAL" clId="{F0858F75-C906-472E-9372-937DC8287CF9}" dt="2018-07-24T15:43:05.467" v="6260" actId="2165"/>
          <ac:graphicFrameMkLst>
            <pc:docMk/>
            <pc:sldMk cId="2186693494" sldId="472"/>
            <ac:graphicFrameMk id="38" creationId="{DE1FD390-CD18-44F1-B954-149A725717F9}"/>
          </ac:graphicFrameMkLst>
        </pc:graphicFrameChg>
      </pc:sldChg>
      <pc:sldChg chg="ord modTransition">
        <pc:chgData name="Andy Isley" userId="86fc7312-e160-49fa-b241-408c12ce0f7b" providerId="ADAL" clId="{F0858F75-C906-472E-9372-937DC8287CF9}" dt="2018-07-24T18:30:17.926" v="7133"/>
        <pc:sldMkLst>
          <pc:docMk/>
          <pc:sldMk cId="2569976355" sldId="475"/>
        </pc:sldMkLst>
      </pc:sldChg>
      <pc:sldChg chg="modSp">
        <pc:chgData name="Andy Isley" userId="86fc7312-e160-49fa-b241-408c12ce0f7b" providerId="ADAL" clId="{F0858F75-C906-472E-9372-937DC8287CF9}" dt="2018-08-14T17:39:03.532" v="11565" actId="113"/>
        <pc:sldMkLst>
          <pc:docMk/>
          <pc:sldMk cId="2310304140" sldId="476"/>
        </pc:sldMkLst>
        <pc:spChg chg="mod">
          <ac:chgData name="Andy Isley" userId="86fc7312-e160-49fa-b241-408c12ce0f7b" providerId="ADAL" clId="{F0858F75-C906-472E-9372-937DC8287CF9}" dt="2018-07-24T15:14:20.181" v="5161" actId="20577"/>
          <ac:spMkLst>
            <pc:docMk/>
            <pc:sldMk cId="2310304140" sldId="476"/>
            <ac:spMk id="6" creationId="{44E5690F-35AB-40A3-AF7A-1F83F8B85A15}"/>
          </ac:spMkLst>
        </pc:spChg>
        <pc:spChg chg="mod">
          <ac:chgData name="Andy Isley" userId="86fc7312-e160-49fa-b241-408c12ce0f7b" providerId="ADAL" clId="{F0858F75-C906-472E-9372-937DC8287CF9}" dt="2018-08-14T17:39:03.532" v="11565" actId="113"/>
          <ac:spMkLst>
            <pc:docMk/>
            <pc:sldMk cId="2310304140" sldId="476"/>
            <ac:spMk id="28" creationId="{39554714-BDAE-4E5D-88C3-453D13CBFA82}"/>
          </ac:spMkLst>
        </pc:spChg>
      </pc:sldChg>
      <pc:sldChg chg="delSp modSp add">
        <pc:chgData name="Andy Isley" userId="86fc7312-e160-49fa-b241-408c12ce0f7b" providerId="ADAL" clId="{F0858F75-C906-472E-9372-937DC8287CF9}" dt="2018-07-25T20:26:11.438" v="8701" actId="6549"/>
        <pc:sldMkLst>
          <pc:docMk/>
          <pc:sldMk cId="3295286402" sldId="478"/>
        </pc:sldMkLst>
        <pc:spChg chg="mod">
          <ac:chgData name="Andy Isley" userId="86fc7312-e160-49fa-b241-408c12ce0f7b" providerId="ADAL" clId="{F0858F75-C906-472E-9372-937DC8287CF9}" dt="2018-07-24T15:58:21.341" v="6665" actId="20577"/>
          <ac:spMkLst>
            <pc:docMk/>
            <pc:sldMk cId="3295286402" sldId="478"/>
            <ac:spMk id="6" creationId="{44E5690F-35AB-40A3-AF7A-1F83F8B85A15}"/>
          </ac:spMkLst>
        </pc:spChg>
        <pc:spChg chg="mod">
          <ac:chgData name="Andy Isley" userId="86fc7312-e160-49fa-b241-408c12ce0f7b" providerId="ADAL" clId="{F0858F75-C906-472E-9372-937DC8287CF9}" dt="2018-07-25T20:26:11.438" v="8701" actId="6549"/>
          <ac:spMkLst>
            <pc:docMk/>
            <pc:sldMk cId="3295286402" sldId="478"/>
            <ac:spMk id="25" creationId="{F7744A62-7662-4667-98A7-FF2A4C5D7492}"/>
          </ac:spMkLst>
        </pc:spChg>
        <pc:spChg chg="del">
          <ac:chgData name="Andy Isley" userId="86fc7312-e160-49fa-b241-408c12ce0f7b" providerId="ADAL" clId="{F0858F75-C906-472E-9372-937DC8287CF9}" dt="2018-07-24T15:58:28.474" v="6668" actId="478"/>
          <ac:spMkLst>
            <pc:docMk/>
            <pc:sldMk cId="3295286402" sldId="478"/>
            <ac:spMk id="30" creationId="{F8E8EF4F-38F4-45B1-93A8-D8ACA503AFB0}"/>
          </ac:spMkLst>
        </pc:spChg>
        <pc:spChg chg="del">
          <ac:chgData name="Andy Isley" userId="86fc7312-e160-49fa-b241-408c12ce0f7b" providerId="ADAL" clId="{F0858F75-C906-472E-9372-937DC8287CF9}" dt="2018-07-24T15:58:26.855" v="6667" actId="478"/>
          <ac:spMkLst>
            <pc:docMk/>
            <pc:sldMk cId="3295286402" sldId="478"/>
            <ac:spMk id="33" creationId="{92E4E159-20DF-4DE7-B740-EF5F41F32B19}"/>
          </ac:spMkLst>
        </pc:spChg>
        <pc:spChg chg="del">
          <ac:chgData name="Andy Isley" userId="86fc7312-e160-49fa-b241-408c12ce0f7b" providerId="ADAL" clId="{F0858F75-C906-472E-9372-937DC8287CF9}" dt="2018-07-24T15:58:25.420" v="6666" actId="478"/>
          <ac:spMkLst>
            <pc:docMk/>
            <pc:sldMk cId="3295286402" sldId="478"/>
            <ac:spMk id="36" creationId="{07A6AD12-DA03-4E52-A1F0-B0351663C419}"/>
          </ac:spMkLst>
        </pc:spChg>
      </pc:sldChg>
      <pc:sldChg chg="modSp add">
        <pc:chgData name="Andy Isley" userId="86fc7312-e160-49fa-b241-408c12ce0f7b" providerId="ADAL" clId="{F0858F75-C906-472E-9372-937DC8287CF9}" dt="2018-08-14T17:39:25.127" v="11568" actId="113"/>
        <pc:sldMkLst>
          <pc:docMk/>
          <pc:sldMk cId="731496551" sldId="479"/>
        </pc:sldMkLst>
        <pc:spChg chg="mod">
          <ac:chgData name="Andy Isley" userId="86fc7312-e160-49fa-b241-408c12ce0f7b" providerId="ADAL" clId="{F0858F75-C906-472E-9372-937DC8287CF9}" dt="2018-07-30T13:38:16.544" v="9412" actId="20577"/>
          <ac:spMkLst>
            <pc:docMk/>
            <pc:sldMk cId="731496551" sldId="479"/>
            <ac:spMk id="6" creationId="{44E5690F-35AB-40A3-AF7A-1F83F8B85A15}"/>
          </ac:spMkLst>
        </pc:spChg>
        <pc:spChg chg="mod">
          <ac:chgData name="Andy Isley" userId="86fc7312-e160-49fa-b241-408c12ce0f7b" providerId="ADAL" clId="{F0858F75-C906-472E-9372-937DC8287CF9}" dt="2018-08-14T17:39:25.127" v="11568" actId="113"/>
          <ac:spMkLst>
            <pc:docMk/>
            <pc:sldMk cId="731496551" sldId="479"/>
            <ac:spMk id="28" creationId="{39554714-BDAE-4E5D-88C3-453D13CBFA82}"/>
          </ac:spMkLst>
        </pc:spChg>
      </pc:sldChg>
      <pc:sldChg chg="addSp modSp add">
        <pc:chgData name="Andy Isley" userId="86fc7312-e160-49fa-b241-408c12ce0f7b" providerId="ADAL" clId="{F0858F75-C906-472E-9372-937DC8287CF9}" dt="2018-07-30T14:00:22.824" v="10131" actId="1076"/>
        <pc:sldMkLst>
          <pc:docMk/>
          <pc:sldMk cId="889821752" sldId="480"/>
        </pc:sldMkLst>
        <pc:spChg chg="add mod">
          <ac:chgData name="Andy Isley" userId="86fc7312-e160-49fa-b241-408c12ce0f7b" providerId="ADAL" clId="{F0858F75-C906-472E-9372-937DC8287CF9}" dt="2018-07-30T14:00:15.795" v="10130" actId="179"/>
          <ac:spMkLst>
            <pc:docMk/>
            <pc:sldMk cId="889821752" sldId="480"/>
            <ac:spMk id="3" creationId="{E9DEC043-F05E-4337-9336-1B6947DF21B7}"/>
          </ac:spMkLst>
        </pc:spChg>
        <pc:spChg chg="mod">
          <ac:chgData name="Andy Isley" userId="86fc7312-e160-49fa-b241-408c12ce0f7b" providerId="ADAL" clId="{F0858F75-C906-472E-9372-937DC8287CF9}" dt="2018-07-30T13:46:04.098" v="9414" actId="6549"/>
          <ac:spMkLst>
            <pc:docMk/>
            <pc:sldMk cId="889821752" sldId="480"/>
            <ac:spMk id="28" creationId="{39554714-BDAE-4E5D-88C3-453D13CBFA82}"/>
          </ac:spMkLst>
        </pc:spChg>
        <pc:picChg chg="add mod">
          <ac:chgData name="Andy Isley" userId="86fc7312-e160-49fa-b241-408c12ce0f7b" providerId="ADAL" clId="{F0858F75-C906-472E-9372-937DC8287CF9}" dt="2018-07-30T13:59:55.169" v="10124" actId="1076"/>
          <ac:picMkLst>
            <pc:docMk/>
            <pc:sldMk cId="889821752" sldId="480"/>
            <ac:picMk id="2" creationId="{9854A291-2EB3-47D6-AA1B-D0F29371107F}"/>
          </ac:picMkLst>
        </pc:picChg>
        <pc:picChg chg="add mod">
          <ac:chgData name="Andy Isley" userId="86fc7312-e160-49fa-b241-408c12ce0f7b" providerId="ADAL" clId="{F0858F75-C906-472E-9372-937DC8287CF9}" dt="2018-07-30T14:00:22.824" v="10131" actId="1076"/>
          <ac:picMkLst>
            <pc:docMk/>
            <pc:sldMk cId="889821752" sldId="480"/>
            <ac:picMk id="25" creationId="{F62E916E-5066-4495-8428-5E530CDFB5A7}"/>
          </ac:picMkLst>
        </pc:picChg>
      </pc:sldChg>
      <pc:sldChg chg="addSp delSp modSp add">
        <pc:chgData name="Andy Isley" userId="86fc7312-e160-49fa-b241-408c12ce0f7b" providerId="ADAL" clId="{F0858F75-C906-472E-9372-937DC8287CF9}" dt="2018-07-30T14:00:01.897" v="10126"/>
        <pc:sldMkLst>
          <pc:docMk/>
          <pc:sldMk cId="2950843235" sldId="481"/>
        </pc:sldMkLst>
        <pc:spChg chg="mod">
          <ac:chgData name="Andy Isley" userId="86fc7312-e160-49fa-b241-408c12ce0f7b" providerId="ADAL" clId="{F0858F75-C906-472E-9372-937DC8287CF9}" dt="2018-07-30T13:48:48.023" v="9481" actId="20577"/>
          <ac:spMkLst>
            <pc:docMk/>
            <pc:sldMk cId="2950843235" sldId="481"/>
            <ac:spMk id="6" creationId="{44E5690F-35AB-40A3-AF7A-1F83F8B85A15}"/>
          </ac:spMkLst>
        </pc:spChg>
        <pc:spChg chg="add mod">
          <ac:chgData name="Andy Isley" userId="86fc7312-e160-49fa-b241-408c12ce0f7b" providerId="ADAL" clId="{F0858F75-C906-472E-9372-937DC8287CF9}" dt="2018-07-30T14:00:01.897" v="10126"/>
          <ac:spMkLst>
            <pc:docMk/>
            <pc:sldMk cId="2950843235" sldId="481"/>
            <ac:spMk id="26" creationId="{0AB17DCD-54A0-473B-9116-007B2D65305E}"/>
          </ac:spMkLst>
        </pc:spChg>
        <pc:spChg chg="mod">
          <ac:chgData name="Andy Isley" userId="86fc7312-e160-49fa-b241-408c12ce0f7b" providerId="ADAL" clId="{F0858F75-C906-472E-9372-937DC8287CF9}" dt="2018-07-30T13:55:01.698" v="9691" actId="1076"/>
          <ac:spMkLst>
            <pc:docMk/>
            <pc:sldMk cId="2950843235" sldId="481"/>
            <ac:spMk id="42" creationId="{69B4F822-E375-4552-84A1-EB88458F9564}"/>
          </ac:spMkLst>
        </pc:spChg>
        <pc:spChg chg="mod">
          <ac:chgData name="Andy Isley" userId="86fc7312-e160-49fa-b241-408c12ce0f7b" providerId="ADAL" clId="{F0858F75-C906-472E-9372-937DC8287CF9}" dt="2018-07-30T13:55:01.698" v="9691" actId="1076"/>
          <ac:spMkLst>
            <pc:docMk/>
            <pc:sldMk cId="2950843235" sldId="481"/>
            <ac:spMk id="45" creationId="{4D35E809-A2B3-4087-AE25-B4A174E11EFA}"/>
          </ac:spMkLst>
        </pc:spChg>
        <pc:spChg chg="del">
          <ac:chgData name="Andy Isley" userId="86fc7312-e160-49fa-b241-408c12ce0f7b" providerId="ADAL" clId="{F0858F75-C906-472E-9372-937DC8287CF9}" dt="2018-07-30T13:49:06.172" v="9489" actId="478"/>
          <ac:spMkLst>
            <pc:docMk/>
            <pc:sldMk cId="2950843235" sldId="481"/>
            <ac:spMk id="46" creationId="{A2D3CD78-059A-46EF-AB7D-92F2B6532417}"/>
          </ac:spMkLst>
        </pc:spChg>
        <pc:spChg chg="mod">
          <ac:chgData name="Andy Isley" userId="86fc7312-e160-49fa-b241-408c12ce0f7b" providerId="ADAL" clId="{F0858F75-C906-472E-9372-937DC8287CF9}" dt="2018-07-30T13:55:01.698" v="9691" actId="1076"/>
          <ac:spMkLst>
            <pc:docMk/>
            <pc:sldMk cId="2950843235" sldId="481"/>
            <ac:spMk id="47" creationId="{C44C20F5-FF5A-41E1-AF0F-11ABC362F14A}"/>
          </ac:spMkLst>
        </pc:spChg>
        <pc:spChg chg="del">
          <ac:chgData name="Andy Isley" userId="86fc7312-e160-49fa-b241-408c12ce0f7b" providerId="ADAL" clId="{F0858F75-C906-472E-9372-937DC8287CF9}" dt="2018-07-30T13:49:05.533" v="9488" actId="478"/>
          <ac:spMkLst>
            <pc:docMk/>
            <pc:sldMk cId="2950843235" sldId="481"/>
            <ac:spMk id="50" creationId="{3CF50D2F-06CA-4656-90F7-792BC308A5CE}"/>
          </ac:spMkLst>
        </pc:spChg>
        <pc:spChg chg="del">
          <ac:chgData name="Andy Isley" userId="86fc7312-e160-49fa-b241-408c12ce0f7b" providerId="ADAL" clId="{F0858F75-C906-472E-9372-937DC8287CF9}" dt="2018-07-30T13:49:00.638" v="9486" actId="478"/>
          <ac:spMkLst>
            <pc:docMk/>
            <pc:sldMk cId="2950843235" sldId="481"/>
            <ac:spMk id="51" creationId="{12107BF8-FF65-49F7-B19C-A80068D273C3}"/>
          </ac:spMkLst>
        </pc:spChg>
        <pc:spChg chg="mod">
          <ac:chgData name="Andy Isley" userId="86fc7312-e160-49fa-b241-408c12ce0f7b" providerId="ADAL" clId="{F0858F75-C906-472E-9372-937DC8287CF9}" dt="2018-07-30T13:55:01.698" v="9691" actId="1076"/>
          <ac:spMkLst>
            <pc:docMk/>
            <pc:sldMk cId="2950843235" sldId="481"/>
            <ac:spMk id="52" creationId="{F051F300-EC17-4889-A0ED-300D475178C0}"/>
          </ac:spMkLst>
        </pc:spChg>
        <pc:spChg chg="mod">
          <ac:chgData name="Andy Isley" userId="86fc7312-e160-49fa-b241-408c12ce0f7b" providerId="ADAL" clId="{F0858F75-C906-472E-9372-937DC8287CF9}" dt="2018-07-30T13:55:01.698" v="9691" actId="1076"/>
          <ac:spMkLst>
            <pc:docMk/>
            <pc:sldMk cId="2950843235" sldId="481"/>
            <ac:spMk id="53" creationId="{2B50C9AA-0A4A-439B-9C64-8AA5DED096A0}"/>
          </ac:spMkLst>
        </pc:spChg>
        <pc:spChg chg="del">
          <ac:chgData name="Andy Isley" userId="86fc7312-e160-49fa-b241-408c12ce0f7b" providerId="ADAL" clId="{F0858F75-C906-472E-9372-937DC8287CF9}" dt="2018-07-30T13:48:52.016" v="9483" actId="478"/>
          <ac:spMkLst>
            <pc:docMk/>
            <pc:sldMk cId="2950843235" sldId="481"/>
            <ac:spMk id="54" creationId="{E1AED6BC-E9F1-4BE9-909E-844EF8623AC5}"/>
          </ac:spMkLst>
        </pc:spChg>
        <pc:spChg chg="del">
          <ac:chgData name="Andy Isley" userId="86fc7312-e160-49fa-b241-408c12ce0f7b" providerId="ADAL" clId="{F0858F75-C906-472E-9372-937DC8287CF9}" dt="2018-07-30T13:48:53.404" v="9484" actId="478"/>
          <ac:spMkLst>
            <pc:docMk/>
            <pc:sldMk cId="2950843235" sldId="481"/>
            <ac:spMk id="56" creationId="{512A950B-0CAB-4953-BAD6-91C7E419B3EF}"/>
          </ac:spMkLst>
        </pc:spChg>
        <pc:picChg chg="del">
          <ac:chgData name="Andy Isley" userId="86fc7312-e160-49fa-b241-408c12ce0f7b" providerId="ADAL" clId="{F0858F75-C906-472E-9372-937DC8287CF9}" dt="2018-07-30T13:48:59.539" v="9485" actId="478"/>
          <ac:picMkLst>
            <pc:docMk/>
            <pc:sldMk cId="2950843235" sldId="481"/>
            <ac:picMk id="2" creationId="{EF8B01C8-E184-4900-901E-BC84E88BAD85}"/>
          </ac:picMkLst>
        </pc:picChg>
        <pc:picChg chg="add mod">
          <ac:chgData name="Andy Isley" userId="86fc7312-e160-49fa-b241-408c12ce0f7b" providerId="ADAL" clId="{F0858F75-C906-472E-9372-937DC8287CF9}" dt="2018-07-30T13:55:01.698" v="9691" actId="1076"/>
          <ac:picMkLst>
            <pc:docMk/>
            <pc:sldMk cId="2950843235" sldId="481"/>
            <ac:picMk id="4" creationId="{A32ADD9E-8CD3-46C6-A51D-F964F6311F15}"/>
          </ac:picMkLst>
        </pc:picChg>
        <pc:picChg chg="add del">
          <ac:chgData name="Andy Isley" userId="86fc7312-e160-49fa-b241-408c12ce0f7b" providerId="ADAL" clId="{F0858F75-C906-472E-9372-937DC8287CF9}" dt="2018-07-30T13:53:37.560" v="9578"/>
          <ac:picMkLst>
            <pc:docMk/>
            <pc:sldMk cId="2950843235" sldId="481"/>
            <ac:picMk id="5" creationId="{27ECC9DE-C6DF-4472-946C-2AC9FDC3D699}"/>
          </ac:picMkLst>
        </pc:picChg>
        <pc:picChg chg="add mod">
          <ac:chgData name="Andy Isley" userId="86fc7312-e160-49fa-b241-408c12ce0f7b" providerId="ADAL" clId="{F0858F75-C906-472E-9372-937DC8287CF9}" dt="2018-07-30T13:57:06.248" v="9932" actId="1076"/>
          <ac:picMkLst>
            <pc:docMk/>
            <pc:sldMk cId="2950843235" sldId="481"/>
            <ac:picMk id="25" creationId="{4C475742-F7B7-462F-9693-C13009B6E496}"/>
          </ac:picMkLst>
        </pc:picChg>
        <pc:picChg chg="add del mod">
          <ac:chgData name="Andy Isley" userId="86fc7312-e160-49fa-b241-408c12ce0f7b" providerId="ADAL" clId="{F0858F75-C906-472E-9372-937DC8287CF9}" dt="2018-07-30T13:59:40.520" v="10118"/>
          <ac:picMkLst>
            <pc:docMk/>
            <pc:sldMk cId="2950843235" sldId="481"/>
            <ac:picMk id="27" creationId="{89DBF517-57AB-487D-8E0E-0081151283E8}"/>
          </ac:picMkLst>
        </pc:picChg>
        <pc:picChg chg="add del mod">
          <ac:chgData name="Andy Isley" userId="86fc7312-e160-49fa-b241-408c12ce0f7b" providerId="ADAL" clId="{F0858F75-C906-472E-9372-937DC8287CF9}" dt="2018-07-30T13:55:01.698" v="9691" actId="1076"/>
          <ac:picMkLst>
            <pc:docMk/>
            <pc:sldMk cId="2950843235" sldId="481"/>
            <ac:picMk id="43" creationId="{DFEACBF2-3411-4B7E-803B-B888E5BB2C4E}"/>
          </ac:picMkLst>
        </pc:picChg>
        <pc:picChg chg="mod">
          <ac:chgData name="Andy Isley" userId="86fc7312-e160-49fa-b241-408c12ce0f7b" providerId="ADAL" clId="{F0858F75-C906-472E-9372-937DC8287CF9}" dt="2018-07-30T13:55:01.698" v="9691" actId="1076"/>
          <ac:picMkLst>
            <pc:docMk/>
            <pc:sldMk cId="2950843235" sldId="481"/>
            <ac:picMk id="44" creationId="{95515E55-7B90-443B-B03D-974FB68F0649}"/>
          </ac:picMkLst>
        </pc:picChg>
        <pc:picChg chg="del">
          <ac:chgData name="Andy Isley" userId="86fc7312-e160-49fa-b241-408c12ce0f7b" providerId="ADAL" clId="{F0858F75-C906-472E-9372-937DC8287CF9}" dt="2018-07-30T13:51:11.631" v="9496" actId="478"/>
          <ac:picMkLst>
            <pc:docMk/>
            <pc:sldMk cId="2950843235" sldId="481"/>
            <ac:picMk id="48" creationId="{CE26981A-8B72-4AC5-80F0-800C25466051}"/>
          </ac:picMkLst>
        </pc:picChg>
        <pc:picChg chg="del">
          <ac:chgData name="Andy Isley" userId="86fc7312-e160-49fa-b241-408c12ce0f7b" providerId="ADAL" clId="{F0858F75-C906-472E-9372-937DC8287CF9}" dt="2018-07-30T13:49:04.198" v="9487" actId="478"/>
          <ac:picMkLst>
            <pc:docMk/>
            <pc:sldMk cId="2950843235" sldId="481"/>
            <ac:picMk id="49" creationId="{2690E6A4-F261-4FCF-B783-ECF374E1FE53}"/>
          </ac:picMkLst>
        </pc:picChg>
        <pc:picChg chg="del">
          <ac:chgData name="Andy Isley" userId="86fc7312-e160-49fa-b241-408c12ce0f7b" providerId="ADAL" clId="{F0858F75-C906-472E-9372-937DC8287CF9}" dt="2018-07-30T13:48:51.168" v="9482" actId="478"/>
          <ac:picMkLst>
            <pc:docMk/>
            <pc:sldMk cId="2950843235" sldId="481"/>
            <ac:picMk id="55" creationId="{990916FA-B4A1-4FC0-B41D-ED2DA408B00F}"/>
          </ac:picMkLst>
        </pc:picChg>
      </pc:sldChg>
      <pc:sldChg chg="modSp">
        <pc:chgData name="Andy Isley" userId="86fc7312-e160-49fa-b241-408c12ce0f7b" providerId="ADAL" clId="{F0858F75-C906-472E-9372-937DC8287CF9}" dt="2018-08-14T18:14:42.729" v="11963" actId="20577"/>
        <pc:sldMkLst>
          <pc:docMk/>
          <pc:sldMk cId="178516156" sldId="1180"/>
        </pc:sldMkLst>
        <pc:spChg chg="mod">
          <ac:chgData name="Andy Isley" userId="86fc7312-e160-49fa-b241-408c12ce0f7b" providerId="ADAL" clId="{F0858F75-C906-472E-9372-937DC8287CF9}" dt="2018-07-30T15:11:28.804" v="11325" actId="6549"/>
          <ac:spMkLst>
            <pc:docMk/>
            <pc:sldMk cId="178516156" sldId="1180"/>
            <ac:spMk id="6" creationId="{44E5690F-35AB-40A3-AF7A-1F83F8B85A15}"/>
          </ac:spMkLst>
        </pc:spChg>
        <pc:spChg chg="mod">
          <ac:chgData name="Andy Isley" userId="86fc7312-e160-49fa-b241-408c12ce0f7b" providerId="ADAL" clId="{F0858F75-C906-472E-9372-937DC8287CF9}" dt="2018-08-14T18:14:42.729" v="11963" actId="20577"/>
          <ac:spMkLst>
            <pc:docMk/>
            <pc:sldMk cId="178516156" sldId="1180"/>
            <ac:spMk id="26" creationId="{E5AE025A-718D-44F7-BA6A-95CA79944EB5}"/>
          </ac:spMkLst>
        </pc:spChg>
      </pc:sldChg>
      <pc:sldChg chg="modSp add">
        <pc:chgData name="Andy Isley" userId="86fc7312-e160-49fa-b241-408c12ce0f7b" providerId="ADAL" clId="{F0858F75-C906-472E-9372-937DC8287CF9}" dt="2018-07-30T14:30:26.276" v="11046" actId="20577"/>
        <pc:sldMkLst>
          <pc:docMk/>
          <pc:sldMk cId="3396007496" sldId="1181"/>
        </pc:sldMkLst>
        <pc:spChg chg="mod">
          <ac:chgData name="Andy Isley" userId="86fc7312-e160-49fa-b241-408c12ce0f7b" providerId="ADAL" clId="{F0858F75-C906-472E-9372-937DC8287CF9}" dt="2018-07-30T14:30:26.276" v="11046" actId="20577"/>
          <ac:spMkLst>
            <pc:docMk/>
            <pc:sldMk cId="3396007496" sldId="1181"/>
            <ac:spMk id="6" creationId="{00000000-0000-0000-0000-000000000000}"/>
          </ac:spMkLst>
        </pc:spChg>
      </pc:sldChg>
      <pc:sldChg chg="modSp">
        <pc:chgData name="Andy Isley" userId="86fc7312-e160-49fa-b241-408c12ce0f7b" providerId="ADAL" clId="{F0858F75-C906-472E-9372-937DC8287CF9}" dt="2018-07-30T14:31:04.052" v="11055" actId="20577"/>
        <pc:sldMkLst>
          <pc:docMk/>
          <pc:sldMk cId="1654230272" sldId="1182"/>
        </pc:sldMkLst>
        <pc:spChg chg="mod">
          <ac:chgData name="Andy Isley" userId="86fc7312-e160-49fa-b241-408c12ce0f7b" providerId="ADAL" clId="{F0858F75-C906-472E-9372-937DC8287CF9}" dt="2018-07-30T14:31:04.052" v="11055" actId="20577"/>
          <ac:spMkLst>
            <pc:docMk/>
            <pc:sldMk cId="1654230272" sldId="1182"/>
            <ac:spMk id="6" creationId="{00000000-0000-0000-0000-000000000000}"/>
          </ac:spMkLst>
        </pc:spChg>
      </pc:sldChg>
      <pc:sldChg chg="modSp ord">
        <pc:chgData name="Andy Isley" userId="86fc7312-e160-49fa-b241-408c12ce0f7b" providerId="ADAL" clId="{F0858F75-C906-472E-9372-937DC8287CF9}" dt="2018-08-14T17:47:35.961" v="11827"/>
        <pc:sldMkLst>
          <pc:docMk/>
          <pc:sldMk cId="3781776530" sldId="1191"/>
        </pc:sldMkLst>
        <pc:spChg chg="mod">
          <ac:chgData name="Andy Isley" userId="86fc7312-e160-49fa-b241-408c12ce0f7b" providerId="ADAL" clId="{F0858F75-C906-472E-9372-937DC8287CF9}" dt="2018-08-14T17:44:01.923" v="11727" actId="20577"/>
          <ac:spMkLst>
            <pc:docMk/>
            <pc:sldMk cId="3781776530" sldId="1191"/>
            <ac:spMk id="25" creationId="{B7D8A3F1-216C-4798-B65D-1A336BDC030D}"/>
          </ac:spMkLst>
        </pc:spChg>
      </pc:sldChg>
    </pc:docChg>
  </pc:docChgLst>
  <pc:docChgLst>
    <pc:chgData name="Gaiye Zhou" userId="57624dc8-72d9-4103-85d2-3bb69491f2d7" providerId="ADAL" clId="{9F5AA92E-E126-429C-8F6C-EAC8A45BD91A}"/>
    <pc:docChg chg="undo custSel addSld delSld modSld sldOrd">
      <pc:chgData name="Gaiye Zhou" userId="57624dc8-72d9-4103-85d2-3bb69491f2d7" providerId="ADAL" clId="{9F5AA92E-E126-429C-8F6C-EAC8A45BD91A}" dt="2018-07-09T17:46:43.282" v="30904" actId="20577"/>
      <pc:docMkLst>
        <pc:docMk/>
      </pc:docMkLst>
      <pc:sldChg chg="addSp delSp modSp">
        <pc:chgData name="Gaiye Zhou" userId="57624dc8-72d9-4103-85d2-3bb69491f2d7" providerId="ADAL" clId="{9F5AA92E-E126-429C-8F6C-EAC8A45BD91A}" dt="2018-07-09T17:38:26.907" v="30899" actId="20577"/>
        <pc:sldMkLst>
          <pc:docMk/>
          <pc:sldMk cId="1785722168" sldId="402"/>
        </pc:sldMkLst>
        <pc:spChg chg="mod">
          <ac:chgData name="Gaiye Zhou" userId="57624dc8-72d9-4103-85d2-3bb69491f2d7" providerId="ADAL" clId="{9F5AA92E-E126-429C-8F6C-EAC8A45BD91A}" dt="2018-05-18T03:57:38.787" v="15758" actId="255"/>
          <ac:spMkLst>
            <pc:docMk/>
            <pc:sldMk cId="1785722168" sldId="402"/>
            <ac:spMk id="6" creationId="{44E5690F-35AB-40A3-AF7A-1F83F8B85A15}"/>
          </ac:spMkLst>
        </pc:spChg>
        <pc:grpChg chg="add">
          <ac:chgData name="Gaiye Zhou" userId="57624dc8-72d9-4103-85d2-3bb69491f2d7" providerId="ADAL" clId="{9F5AA92E-E126-429C-8F6C-EAC8A45BD91A}" dt="2018-05-18T03:57:18.652" v="15757" actId="255"/>
          <ac:grpSpMkLst>
            <pc:docMk/>
            <pc:sldMk cId="1785722168" sldId="402"/>
            <ac:grpSpMk id="4" creationId="{BE9261EF-E9ED-42FA-91F6-89B7B6EE61F6}"/>
          </ac:grpSpMkLst>
        </pc:grpChg>
        <pc:grpChg chg="del">
          <ac:chgData name="Gaiye Zhou" userId="57624dc8-72d9-4103-85d2-3bb69491f2d7" providerId="ADAL" clId="{9F5AA92E-E126-429C-8F6C-EAC8A45BD91A}" dt="2018-05-17T03:29:25.340" v="8996" actId="478"/>
          <ac:grpSpMkLst>
            <pc:docMk/>
            <pc:sldMk cId="1785722168" sldId="402"/>
            <ac:grpSpMk id="7" creationId="{410A6764-D20E-48B5-A27C-31FCD8155145}"/>
          </ac:grpSpMkLst>
        </pc:grpChg>
        <pc:graphicFrameChg chg="modGraphic">
          <ac:chgData name="Gaiye Zhou" userId="57624dc8-72d9-4103-85d2-3bb69491f2d7" providerId="ADAL" clId="{9F5AA92E-E126-429C-8F6C-EAC8A45BD91A}" dt="2018-07-09T17:38:26.907" v="30899" actId="20577"/>
          <ac:graphicFrameMkLst>
            <pc:docMk/>
            <pc:sldMk cId="1785722168" sldId="402"/>
            <ac:graphicFrameMk id="25" creationId="{E951E5CF-4256-4ED5-A32C-20D292BD76C8}"/>
          </ac:graphicFrameMkLst>
        </pc:graphicFrameChg>
      </pc:sldChg>
    </pc:docChg>
  </pc:docChgLst>
  <pc:docChgLst>
    <pc:chgData name="Andy Isley" userId="86fc7312-e160-49fa-b241-408c12ce0f7b" providerId="ADAL" clId="{B4B8EF17-4375-4EE2-AA8E-8082258A9F9F}"/>
  </pc:docChgLst>
  <pc:docChgLst>
    <pc:chgData name="Kal Yella" userId="73ae2cd4-e52b-4f97-a419-90c7acd06d76" providerId="ADAL" clId="{8F07AA27-B055-4B5E-A21D-EDD9DAD7C3B4}"/>
    <pc:docChg chg="modSld">
      <pc:chgData name="Kal Yella" userId="73ae2cd4-e52b-4f97-a419-90c7acd06d76" providerId="ADAL" clId="{8F07AA27-B055-4B5E-A21D-EDD9DAD7C3B4}" dt="2018-08-02T22:27:25.528" v="2" actId="6549"/>
      <pc:docMkLst>
        <pc:docMk/>
      </pc:docMkLst>
      <pc:sldChg chg="modTransition">
        <pc:chgData name="Kal Yella" userId="73ae2cd4-e52b-4f97-a419-90c7acd06d76" providerId="ADAL" clId="{8F07AA27-B055-4B5E-A21D-EDD9DAD7C3B4}" dt="2018-08-01T01:14:23.552" v="1"/>
        <pc:sldMkLst>
          <pc:docMk/>
          <pc:sldMk cId="3506481604" sldId="467"/>
        </pc:sldMkLst>
      </pc:sldChg>
      <pc:sldChg chg="modTransition">
        <pc:chgData name="Kal Yella" userId="73ae2cd4-e52b-4f97-a419-90c7acd06d76" providerId="ADAL" clId="{8F07AA27-B055-4B5E-A21D-EDD9DAD7C3B4}" dt="2018-07-31T23:43:05.240" v="0"/>
        <pc:sldMkLst>
          <pc:docMk/>
          <pc:sldMk cId="3295286402" sldId="478"/>
        </pc:sldMkLst>
      </pc:sldChg>
      <pc:sldChg chg="modSp">
        <pc:chgData name="Kal Yella" userId="73ae2cd4-e52b-4f97-a419-90c7acd06d76" providerId="ADAL" clId="{8F07AA27-B055-4B5E-A21D-EDD9DAD7C3B4}" dt="2018-08-02T22:27:25.528" v="2" actId="6549"/>
        <pc:sldMkLst>
          <pc:docMk/>
          <pc:sldMk cId="346408460" sldId="1188"/>
        </pc:sldMkLst>
        <pc:spChg chg="mod">
          <ac:chgData name="Kal Yella" userId="73ae2cd4-e52b-4f97-a419-90c7acd06d76" providerId="ADAL" clId="{8F07AA27-B055-4B5E-A21D-EDD9DAD7C3B4}" dt="2018-08-02T22:27:25.528" v="2" actId="6549"/>
          <ac:spMkLst>
            <pc:docMk/>
            <pc:sldMk cId="346408460" sldId="1188"/>
            <ac:spMk id="36" creationId="{07A6AD12-DA03-4E52-A1F0-B0351663C419}"/>
          </ac:spMkLst>
        </pc:spChg>
      </pc:sldChg>
    </pc:docChg>
  </pc:docChgLst>
  <pc:docChgLst>
    <pc:chgData name="Andy Isley" userId="86fc7312-e160-49fa-b241-408c12ce0f7b" providerId="ADAL" clId="{34C28BE2-7314-4B12-93B9-A940F69D6992}"/>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11F04-4F6E-4D1E-8470-9E8FDC676970}" type="datetimeFigureOut">
              <a:rPr lang="en-US" smtClean="0"/>
              <a:t>11/1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9CAF7E-E9D5-405E-A4FA-73896B53DB5E}" type="slidenum">
              <a:rPr lang="en-US" smtClean="0"/>
              <a:t>‹#›</a:t>
            </a:fld>
            <a:endParaRPr lang="en-US"/>
          </a:p>
        </p:txBody>
      </p:sp>
    </p:spTree>
    <p:extLst>
      <p:ext uri="{BB962C8B-B14F-4D97-AF65-F5344CB8AC3E}">
        <p14:creationId xmlns:p14="http://schemas.microsoft.com/office/powerpoint/2010/main" val="993860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2018</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62626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47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542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4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331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461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534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614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77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148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135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060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21586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4/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58223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107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26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543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127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9705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882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76232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43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70760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683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3274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745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8998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308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7065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7695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7127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2562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036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9781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6130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6144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9017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3165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Note 1: All the tests were performed in APS 2016.</a:t>
            </a:r>
          </a:p>
          <a:p>
            <a:r>
              <a:rPr lang="en-US" sz="1200" kern="1200" dirty="0">
                <a:solidFill>
                  <a:schemeClr val="tx1"/>
                </a:solidFill>
                <a:latin typeface="+mn-lt"/>
                <a:ea typeface="+mn-ea"/>
                <a:cs typeface="+mn-cs"/>
              </a:rPr>
              <a:t>Note 2: When defining the external file format, always set </a:t>
            </a:r>
            <a:r>
              <a:rPr lang="en-US" sz="1200" kern="1200" dirty="0" err="1">
                <a:solidFill>
                  <a:schemeClr val="tx1"/>
                </a:solidFill>
                <a:latin typeface="+mn-lt"/>
                <a:ea typeface="+mn-ea"/>
                <a:cs typeface="+mn-cs"/>
              </a:rPr>
              <a:t>REJECT_VALUE</a:t>
            </a:r>
            <a:r>
              <a:rPr lang="en-US" sz="1200" kern="1200" dirty="0">
                <a:solidFill>
                  <a:schemeClr val="tx1"/>
                </a:solidFill>
                <a:latin typeface="+mn-lt"/>
                <a:ea typeface="+mn-ea"/>
                <a:cs typeface="+mn-cs"/>
              </a:rPr>
              <a:t> = 0. </a:t>
            </a:r>
          </a:p>
          <a:p>
            <a:r>
              <a:rPr lang="en-US" sz="1200" kern="1200" dirty="0">
                <a:solidFill>
                  <a:schemeClr val="tx1"/>
                </a:solidFill>
                <a:latin typeface="+mn-lt"/>
                <a:ea typeface="+mn-ea"/>
                <a:cs typeface="+mn-cs"/>
              </a:rPr>
              <a:t>Note 3: </a:t>
            </a:r>
            <a:r>
              <a:rPr lang="en-US" sz="1200" kern="1200" dirty="0" err="1">
                <a:solidFill>
                  <a:schemeClr val="tx1"/>
                </a:solidFill>
                <a:latin typeface="+mn-lt"/>
                <a:ea typeface="+mn-ea"/>
                <a:cs typeface="+mn-cs"/>
              </a:rPr>
              <a:t>RCFil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ORCFile</a:t>
            </a:r>
            <a:r>
              <a:rPr lang="en-US" sz="1200" kern="1200" dirty="0">
                <a:solidFill>
                  <a:schemeClr val="tx1"/>
                </a:solidFill>
                <a:latin typeface="+mn-lt"/>
                <a:ea typeface="+mn-ea"/>
                <a:cs typeface="+mn-cs"/>
              </a:rPr>
              <a:t>, and Parquet File: Dates are converted to UTC. </a:t>
            </a:r>
          </a:p>
          <a:p>
            <a:endParaRPr lang="en-US" sz="1200"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02174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7231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ement Location = </a:t>
            </a:r>
            <a:r>
              <a:rPr lang="en-US" dirty="0" err="1"/>
              <a:t>User_DB</a:t>
            </a:r>
            <a:r>
              <a:rPr lang="en-US" dirty="0"/>
              <a:t> is not needed in Azure SQLDW. Azure SQLDW engine ignores this statement. It is better to take them ou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1327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246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7014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6113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5150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9585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2414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4408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7366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3710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4898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1377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392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0672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979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597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938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7981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747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3729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99823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7128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078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495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2144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68137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63285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42631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92320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63574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3062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8599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8724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83817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612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7761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4750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175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Line 104 of RunSQLStatementExportCSV.ps1 has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as a column.  This might not be valid for all versions of APS.  If excluded and a table is an external table, then an error is thrown but program continues to run.  If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is removed then the if statement on lines159-160 need to be replace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281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017658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43533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581275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355504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95481348"/>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62914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308704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56928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36883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499916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80274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2526288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Overview Competitor">
    <p:spTree>
      <p:nvGrpSpPr>
        <p:cNvPr id="1" name=""/>
        <p:cNvGrpSpPr/>
        <p:nvPr/>
      </p:nvGrpSpPr>
      <p:grpSpPr>
        <a:xfrm>
          <a:off x="0" y="0"/>
          <a:ext cx="0" cy="0"/>
          <a:chOff x="0" y="0"/>
          <a:chExt cx="0" cy="0"/>
        </a:xfrm>
      </p:grpSpPr>
      <p:sp>
        <p:nvSpPr>
          <p:cNvPr id="193" name="Rectangle 192"/>
          <p:cNvSpPr/>
          <p:nvPr userDrawn="1"/>
        </p:nvSpPr>
        <p:spPr>
          <a:xfrm>
            <a:off x="5450547" y="242698"/>
            <a:ext cx="6466302" cy="269644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sp>
        <p:nvSpPr>
          <p:cNvPr id="197" name="Rectangle 196"/>
          <p:cNvSpPr/>
          <p:nvPr userDrawn="1"/>
        </p:nvSpPr>
        <p:spPr>
          <a:xfrm>
            <a:off x="205273" y="1235633"/>
            <a:ext cx="2537923" cy="3562161"/>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b="1">
              <a:solidFill>
                <a:prstClr val="black"/>
              </a:solidFill>
              <a:latin typeface="Segoe"/>
              <a:cs typeface="Segoe"/>
            </a:endParaRPr>
          </a:p>
        </p:txBody>
      </p:sp>
      <p:sp>
        <p:nvSpPr>
          <p:cNvPr id="198" name="Rectangle 197"/>
          <p:cNvSpPr/>
          <p:nvPr userDrawn="1"/>
        </p:nvSpPr>
        <p:spPr>
          <a:xfrm>
            <a:off x="2807936" y="1236190"/>
            <a:ext cx="2537923" cy="356160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a:solidFill>
                <a:prstClr val="black"/>
              </a:solidFill>
            </a:endParaRPr>
          </a:p>
        </p:txBody>
      </p:sp>
      <p:sp>
        <p:nvSpPr>
          <p:cNvPr id="200" name="TextBox 199"/>
          <p:cNvSpPr txBox="1"/>
          <p:nvPr userDrawn="1"/>
        </p:nvSpPr>
        <p:spPr>
          <a:xfrm>
            <a:off x="298411" y="1278974"/>
            <a:ext cx="2374812" cy="355995"/>
          </a:xfrm>
          <a:prstGeom prst="rect">
            <a:avLst/>
          </a:prstGeom>
          <a:noFill/>
        </p:spPr>
        <p:txBody>
          <a:bodyPr wrap="square" rtlCol="0">
            <a:spAutoFit/>
          </a:bodyPr>
          <a:lstStyle/>
          <a:p>
            <a:pPr>
              <a:lnSpc>
                <a:spcPct val="120000"/>
              </a:lnSpc>
              <a:spcAft>
                <a:spcPts val="600"/>
              </a:spcAft>
            </a:pPr>
            <a:r>
              <a:rPr lang="en-NZ" sz="1400" b="1" spc="100">
                <a:solidFill>
                  <a:srgbClr val="00ABEC"/>
                </a:solidFill>
                <a:latin typeface="Segoe UI" panose="020B0502040204020203" pitchFamily="34" charset="0"/>
                <a:cs typeface="Segoe UI" panose="020B0502040204020203" pitchFamily="34" charset="0"/>
              </a:rPr>
              <a:t>    </a:t>
            </a:r>
            <a:r>
              <a:rPr lang="en-NZ" sz="1200" b="1" spc="100">
                <a:solidFill>
                  <a:srgbClr val="00ABEC"/>
                </a:solidFill>
                <a:latin typeface="Segoe UI" panose="020B0502040204020203" pitchFamily="34" charset="0"/>
                <a:cs typeface="Segoe UI" panose="020B0502040204020203" pitchFamily="34" charset="0"/>
              </a:rPr>
              <a:t>STRENGTHS</a:t>
            </a:r>
          </a:p>
        </p:txBody>
      </p:sp>
      <p:sp>
        <p:nvSpPr>
          <p:cNvPr id="201" name="TextBox 200"/>
          <p:cNvSpPr txBox="1"/>
          <p:nvPr userDrawn="1"/>
        </p:nvSpPr>
        <p:spPr>
          <a:xfrm>
            <a:off x="3168080" y="1270990"/>
            <a:ext cx="2355300" cy="318421"/>
          </a:xfrm>
          <a:prstGeom prst="rect">
            <a:avLst/>
          </a:prstGeom>
          <a:noFill/>
        </p:spPr>
        <p:txBody>
          <a:bodyPr wrap="square" rtlCol="0">
            <a:spAutoFit/>
          </a:bodyPr>
          <a:lstStyle/>
          <a:p>
            <a:pPr algn="l">
              <a:lnSpc>
                <a:spcPct val="120000"/>
              </a:lnSpc>
              <a:spcAft>
                <a:spcPts val="600"/>
              </a:spcAft>
            </a:pPr>
            <a:r>
              <a:rPr lang="en-NZ" sz="1200" b="1" spc="100">
                <a:solidFill>
                  <a:srgbClr val="00ABEC"/>
                </a:solidFill>
                <a:latin typeface="Segoe UI" panose="020B0502040204020203" pitchFamily="34" charset="0"/>
                <a:cs typeface="Segoe UI" panose="020B0502040204020203" pitchFamily="34" charset="0"/>
              </a:rPr>
              <a:t>WEAKNESSES</a:t>
            </a: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90" name="Freeform 179"/>
          <p:cNvSpPr>
            <a:spLocks noEditPoints="1"/>
          </p:cNvSpPr>
          <p:nvPr userDrawn="1"/>
        </p:nvSpPr>
        <p:spPr bwMode="auto">
          <a:xfrm>
            <a:off x="411316" y="1335336"/>
            <a:ext cx="144672" cy="290969"/>
          </a:xfrm>
          <a:custGeom>
            <a:avLst/>
            <a:gdLst>
              <a:gd name="T0" fmla="*/ 178 w 448"/>
              <a:gd name="T1" fmla="*/ 468 h 897"/>
              <a:gd name="T2" fmla="*/ 180 w 448"/>
              <a:gd name="T3" fmla="*/ 460 h 897"/>
              <a:gd name="T4" fmla="*/ 176 w 448"/>
              <a:gd name="T5" fmla="*/ 455 h 897"/>
              <a:gd name="T6" fmla="*/ 171 w 448"/>
              <a:gd name="T7" fmla="*/ 451 h 897"/>
              <a:gd name="T8" fmla="*/ 165 w 448"/>
              <a:gd name="T9" fmla="*/ 449 h 897"/>
              <a:gd name="T10" fmla="*/ 131 w 448"/>
              <a:gd name="T11" fmla="*/ 30 h 897"/>
              <a:gd name="T12" fmla="*/ 227 w 448"/>
              <a:gd name="T13" fmla="*/ 306 h 897"/>
              <a:gd name="T14" fmla="*/ 224 w 448"/>
              <a:gd name="T15" fmla="*/ 314 h 897"/>
              <a:gd name="T16" fmla="*/ 226 w 448"/>
              <a:gd name="T17" fmla="*/ 321 h 897"/>
              <a:gd name="T18" fmla="*/ 232 w 448"/>
              <a:gd name="T19" fmla="*/ 327 h 897"/>
              <a:gd name="T20" fmla="*/ 239 w 448"/>
              <a:gd name="T21" fmla="*/ 329 h 897"/>
              <a:gd name="T22" fmla="*/ 84 w 448"/>
              <a:gd name="T23" fmla="*/ 797 h 897"/>
              <a:gd name="T24" fmla="*/ 266 w 448"/>
              <a:gd name="T25" fmla="*/ 299 h 897"/>
              <a:gd name="T26" fmla="*/ 448 w 448"/>
              <a:gd name="T27" fmla="*/ 20 h 897"/>
              <a:gd name="T28" fmla="*/ 448 w 448"/>
              <a:gd name="T29" fmla="*/ 12 h 897"/>
              <a:gd name="T30" fmla="*/ 444 w 448"/>
              <a:gd name="T31" fmla="*/ 5 h 897"/>
              <a:gd name="T32" fmla="*/ 437 w 448"/>
              <a:gd name="T33" fmla="*/ 0 h 897"/>
              <a:gd name="T34" fmla="*/ 120 w 448"/>
              <a:gd name="T35" fmla="*/ 0 h 897"/>
              <a:gd name="T36" fmla="*/ 110 w 448"/>
              <a:gd name="T37" fmla="*/ 4 h 897"/>
              <a:gd name="T38" fmla="*/ 105 w 448"/>
              <a:gd name="T39" fmla="*/ 12 h 897"/>
              <a:gd name="T40" fmla="*/ 0 w 448"/>
              <a:gd name="T41" fmla="*/ 463 h 897"/>
              <a:gd name="T42" fmla="*/ 1 w 448"/>
              <a:gd name="T43" fmla="*/ 470 h 897"/>
              <a:gd name="T44" fmla="*/ 5 w 448"/>
              <a:gd name="T45" fmla="*/ 475 h 897"/>
              <a:gd name="T46" fmla="*/ 12 w 448"/>
              <a:gd name="T47" fmla="*/ 478 h 897"/>
              <a:gd name="T48" fmla="*/ 144 w 448"/>
              <a:gd name="T49" fmla="*/ 478 h 897"/>
              <a:gd name="T50" fmla="*/ 30 w 448"/>
              <a:gd name="T51" fmla="*/ 883 h 897"/>
              <a:gd name="T52" fmla="*/ 34 w 448"/>
              <a:gd name="T53" fmla="*/ 892 h 897"/>
              <a:gd name="T54" fmla="*/ 42 w 448"/>
              <a:gd name="T55" fmla="*/ 897 h 897"/>
              <a:gd name="T56" fmla="*/ 48 w 448"/>
              <a:gd name="T57" fmla="*/ 897 h 897"/>
              <a:gd name="T58" fmla="*/ 54 w 448"/>
              <a:gd name="T59" fmla="*/ 893 h 897"/>
              <a:gd name="T60" fmla="*/ 446 w 448"/>
              <a:gd name="T61" fmla="*/ 322 h 897"/>
              <a:gd name="T62" fmla="*/ 448 w 448"/>
              <a:gd name="T63" fmla="*/ 315 h 897"/>
              <a:gd name="T64" fmla="*/ 447 w 448"/>
              <a:gd name="T65" fmla="*/ 307 h 897"/>
              <a:gd name="T66" fmla="*/ 441 w 448"/>
              <a:gd name="T67" fmla="*/ 301 h 897"/>
              <a:gd name="T68" fmla="*/ 433 w 448"/>
              <a:gd name="T69" fmla="*/ 29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897">
                <a:moveTo>
                  <a:pt x="84" y="797"/>
                </a:moveTo>
                <a:lnTo>
                  <a:pt x="178" y="468"/>
                </a:lnTo>
                <a:lnTo>
                  <a:pt x="180" y="465"/>
                </a:lnTo>
                <a:lnTo>
                  <a:pt x="180" y="460"/>
                </a:lnTo>
                <a:lnTo>
                  <a:pt x="178" y="457"/>
                </a:lnTo>
                <a:lnTo>
                  <a:pt x="176" y="455"/>
                </a:lnTo>
                <a:lnTo>
                  <a:pt x="174" y="452"/>
                </a:lnTo>
                <a:lnTo>
                  <a:pt x="171" y="451"/>
                </a:lnTo>
                <a:lnTo>
                  <a:pt x="168" y="449"/>
                </a:lnTo>
                <a:lnTo>
                  <a:pt x="165" y="449"/>
                </a:lnTo>
                <a:lnTo>
                  <a:pt x="34" y="449"/>
                </a:lnTo>
                <a:lnTo>
                  <a:pt x="131" y="30"/>
                </a:lnTo>
                <a:lnTo>
                  <a:pt x="406" y="30"/>
                </a:lnTo>
                <a:lnTo>
                  <a:pt x="227" y="306"/>
                </a:lnTo>
                <a:lnTo>
                  <a:pt x="224" y="310"/>
                </a:lnTo>
                <a:lnTo>
                  <a:pt x="224" y="314"/>
                </a:lnTo>
                <a:lnTo>
                  <a:pt x="224" y="318"/>
                </a:lnTo>
                <a:lnTo>
                  <a:pt x="226" y="321"/>
                </a:lnTo>
                <a:lnTo>
                  <a:pt x="229" y="324"/>
                </a:lnTo>
                <a:lnTo>
                  <a:pt x="232" y="327"/>
                </a:lnTo>
                <a:lnTo>
                  <a:pt x="235" y="329"/>
                </a:lnTo>
                <a:lnTo>
                  <a:pt x="239" y="329"/>
                </a:lnTo>
                <a:lnTo>
                  <a:pt x="405" y="329"/>
                </a:lnTo>
                <a:lnTo>
                  <a:pt x="84" y="797"/>
                </a:lnTo>
                <a:close/>
                <a:moveTo>
                  <a:pt x="433" y="299"/>
                </a:moveTo>
                <a:lnTo>
                  <a:pt x="266" y="299"/>
                </a:lnTo>
                <a:lnTo>
                  <a:pt x="446" y="24"/>
                </a:lnTo>
                <a:lnTo>
                  <a:pt x="448" y="20"/>
                </a:lnTo>
                <a:lnTo>
                  <a:pt x="448" y="15"/>
                </a:lnTo>
                <a:lnTo>
                  <a:pt x="448" y="12"/>
                </a:lnTo>
                <a:lnTo>
                  <a:pt x="447" y="8"/>
                </a:lnTo>
                <a:lnTo>
                  <a:pt x="444" y="5"/>
                </a:lnTo>
                <a:lnTo>
                  <a:pt x="441" y="3"/>
                </a:lnTo>
                <a:lnTo>
                  <a:pt x="437" y="0"/>
                </a:lnTo>
                <a:lnTo>
                  <a:pt x="433" y="0"/>
                </a:lnTo>
                <a:lnTo>
                  <a:pt x="120" y="0"/>
                </a:lnTo>
                <a:lnTo>
                  <a:pt x="114" y="2"/>
                </a:lnTo>
                <a:lnTo>
                  <a:pt x="110" y="4"/>
                </a:lnTo>
                <a:lnTo>
                  <a:pt x="107" y="7"/>
                </a:lnTo>
                <a:lnTo>
                  <a:pt x="105" y="12"/>
                </a:lnTo>
                <a:lnTo>
                  <a:pt x="1" y="460"/>
                </a:lnTo>
                <a:lnTo>
                  <a:pt x="0" y="463"/>
                </a:lnTo>
                <a:lnTo>
                  <a:pt x="0" y="467"/>
                </a:lnTo>
                <a:lnTo>
                  <a:pt x="1" y="470"/>
                </a:lnTo>
                <a:lnTo>
                  <a:pt x="3" y="473"/>
                </a:lnTo>
                <a:lnTo>
                  <a:pt x="5" y="475"/>
                </a:lnTo>
                <a:lnTo>
                  <a:pt x="8" y="477"/>
                </a:lnTo>
                <a:lnTo>
                  <a:pt x="12" y="478"/>
                </a:lnTo>
                <a:lnTo>
                  <a:pt x="15" y="478"/>
                </a:lnTo>
                <a:lnTo>
                  <a:pt x="144" y="478"/>
                </a:lnTo>
                <a:lnTo>
                  <a:pt x="31" y="877"/>
                </a:lnTo>
                <a:lnTo>
                  <a:pt x="30" y="883"/>
                </a:lnTo>
                <a:lnTo>
                  <a:pt x="31" y="888"/>
                </a:lnTo>
                <a:lnTo>
                  <a:pt x="34" y="892"/>
                </a:lnTo>
                <a:lnTo>
                  <a:pt x="38" y="895"/>
                </a:lnTo>
                <a:lnTo>
                  <a:pt x="42" y="897"/>
                </a:lnTo>
                <a:lnTo>
                  <a:pt x="45" y="897"/>
                </a:lnTo>
                <a:lnTo>
                  <a:pt x="48" y="897"/>
                </a:lnTo>
                <a:lnTo>
                  <a:pt x="51" y="895"/>
                </a:lnTo>
                <a:lnTo>
                  <a:pt x="54" y="893"/>
                </a:lnTo>
                <a:lnTo>
                  <a:pt x="58" y="890"/>
                </a:lnTo>
                <a:lnTo>
                  <a:pt x="446" y="322"/>
                </a:lnTo>
                <a:lnTo>
                  <a:pt x="448" y="319"/>
                </a:lnTo>
                <a:lnTo>
                  <a:pt x="448" y="315"/>
                </a:lnTo>
                <a:lnTo>
                  <a:pt x="448" y="311"/>
                </a:lnTo>
                <a:lnTo>
                  <a:pt x="447" y="307"/>
                </a:lnTo>
                <a:lnTo>
                  <a:pt x="444" y="304"/>
                </a:lnTo>
                <a:lnTo>
                  <a:pt x="441" y="301"/>
                </a:lnTo>
                <a:lnTo>
                  <a:pt x="437" y="300"/>
                </a:lnTo>
                <a:lnTo>
                  <a:pt x="433" y="299"/>
                </a:lnTo>
                <a:lnTo>
                  <a:pt x="433" y="299"/>
                </a:lnTo>
                <a:close/>
              </a:path>
            </a:pathLst>
          </a:custGeom>
          <a:solidFill>
            <a:srgbClr val="00ABEC"/>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291" name="Rectangle 290"/>
          <p:cNvSpPr/>
          <p:nvPr userDrawn="1"/>
        </p:nvSpPr>
        <p:spPr>
          <a:xfrm>
            <a:off x="5450547" y="3102657"/>
            <a:ext cx="6466302" cy="16171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p:cNvGrpSpPr/>
          <p:nvPr userDrawn="1"/>
        </p:nvGrpSpPr>
        <p:grpSpPr>
          <a:xfrm>
            <a:off x="5549009" y="2948307"/>
            <a:ext cx="1554768" cy="312073"/>
            <a:chOff x="5503257" y="2139013"/>
            <a:chExt cx="1554768" cy="312073"/>
          </a:xfrm>
        </p:grpSpPr>
        <p:sp>
          <p:nvSpPr>
            <p:cNvPr id="295" name="TextBox 294"/>
            <p:cNvSpPr txBox="1"/>
            <p:nvPr/>
          </p:nvSpPr>
          <p:spPr>
            <a:xfrm>
              <a:off x="5503257" y="2139013"/>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Summary</a:t>
              </a:r>
            </a:p>
          </p:txBody>
        </p:sp>
        <p:grpSp>
          <p:nvGrpSpPr>
            <p:cNvPr id="296" name="Group 295"/>
            <p:cNvGrpSpPr/>
            <p:nvPr/>
          </p:nvGrpSpPr>
          <p:grpSpPr>
            <a:xfrm>
              <a:off x="5716056" y="2170849"/>
              <a:ext cx="181841" cy="236157"/>
              <a:chOff x="7643813" y="2505076"/>
              <a:chExt cx="200025" cy="285750"/>
            </a:xfrm>
            <a:solidFill>
              <a:srgbClr val="4472C4"/>
            </a:solidFill>
          </p:grpSpPr>
          <p:sp>
            <p:nvSpPr>
              <p:cNvPr id="297" name="Freeform 308"/>
              <p:cNvSpPr>
                <a:spLocks noEditPoints="1"/>
              </p:cNvSpPr>
              <p:nvPr/>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8"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0"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1"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302" name="Group 301"/>
          <p:cNvGrpSpPr/>
          <p:nvPr userDrawn="1"/>
        </p:nvGrpSpPr>
        <p:grpSpPr>
          <a:xfrm>
            <a:off x="5523380" y="79186"/>
            <a:ext cx="1806334" cy="312073"/>
            <a:chOff x="5523380" y="79185"/>
            <a:chExt cx="1554768" cy="312073"/>
          </a:xfrm>
        </p:grpSpPr>
        <p:sp>
          <p:nvSpPr>
            <p:cNvPr id="303" name="TextBox 302"/>
            <p:cNvSpPr txBox="1"/>
            <p:nvPr/>
          </p:nvSpPr>
          <p:spPr>
            <a:xfrm>
              <a:off x="5523380" y="79185"/>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Architecture</a:t>
              </a:r>
            </a:p>
          </p:txBody>
        </p:sp>
        <p:grpSp>
          <p:nvGrpSpPr>
            <p:cNvPr id="304" name="Group 303"/>
            <p:cNvGrpSpPr/>
            <p:nvPr/>
          </p:nvGrpSpPr>
          <p:grpSpPr>
            <a:xfrm>
              <a:off x="5719852" y="129887"/>
              <a:ext cx="214495" cy="214495"/>
              <a:chOff x="5792788" y="814388"/>
              <a:chExt cx="303213" cy="303213"/>
            </a:xfrm>
            <a:solidFill>
              <a:srgbClr val="4472C4"/>
            </a:solidFill>
          </p:grpSpPr>
          <p:sp>
            <p:nvSpPr>
              <p:cNvPr id="305" name="Freeform 24"/>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6" name="Freeform 25"/>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7" name="Freeform 26"/>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8" name="Freeform 27"/>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9" name="Freeform 28"/>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375" name="Rectangle 374"/>
          <p:cNvSpPr/>
          <p:nvPr userDrawn="1"/>
        </p:nvSpPr>
        <p:spPr>
          <a:xfrm>
            <a:off x="222310" y="4863613"/>
            <a:ext cx="5132028" cy="307919"/>
          </a:xfrm>
          <a:prstGeom prst="rect">
            <a:avLst/>
          </a:prstGeom>
          <a:solidFill>
            <a:srgbClr val="B6D8E5"/>
          </a:solidFill>
          <a:ln w="57150" cmpd="sng">
            <a:noFill/>
          </a:ln>
        </p:spPr>
        <p:txBody>
          <a:bodyPr wrap="none">
            <a:noAutofit/>
          </a:bodyPr>
          <a:lstStyle/>
          <a:p>
            <a:pPr>
              <a:lnSpc>
                <a:spcPct val="120000"/>
              </a:lnSpc>
            </a:pPr>
            <a:endParaRPr lang="en-US" sz="900" b="1">
              <a:solidFill>
                <a:prstClr val="black"/>
              </a:solidFill>
              <a:latin typeface="Segoe"/>
              <a:cs typeface="Segoe"/>
            </a:endParaRPr>
          </a:p>
        </p:txBody>
      </p:sp>
      <p:sp>
        <p:nvSpPr>
          <p:cNvPr id="376" name="Rectangle 375"/>
          <p:cNvSpPr/>
          <p:nvPr userDrawn="1"/>
        </p:nvSpPr>
        <p:spPr>
          <a:xfrm>
            <a:off x="207661" y="5156436"/>
            <a:ext cx="5128349" cy="1482247"/>
          </a:xfrm>
          <a:prstGeom prst="rect">
            <a:avLst/>
          </a:prstGeom>
          <a:solidFill>
            <a:srgbClr val="F2F2F2"/>
          </a:solidFill>
          <a:ln>
            <a:noFill/>
          </a:ln>
        </p:spPr>
        <p:style>
          <a:lnRef idx="2">
            <a:schemeClr val="dk1"/>
          </a:lnRef>
          <a:fillRef idx="1">
            <a:schemeClr val="lt1"/>
          </a:fillRef>
          <a:effectRef idx="0">
            <a:schemeClr val="dk1"/>
          </a:effectRef>
          <a:fontRef idx="minor">
            <a:schemeClr val="dk1"/>
          </a:fontRef>
        </p:style>
        <p:txBody>
          <a:bodyPr rtlCol="0" anchor="t"/>
          <a:lstStyle/>
          <a:p>
            <a:pPr marL="115865" indent="0" algn="justLow">
              <a:lnSpc>
                <a:spcPct val="120000"/>
              </a:lnSpc>
              <a:spcAft>
                <a:spcPts val="600"/>
              </a:spcAft>
              <a:buClr>
                <a:srgbClr val="00ABEC"/>
              </a:buClr>
              <a:buFont typeface="Wingdings" panose="05000000000000000000" pitchFamily="2" charset="2"/>
              <a:buNone/>
            </a:pPr>
            <a:endParaRPr lang="en-NZ" sz="1050">
              <a:solidFill>
                <a:prstClr val="black"/>
              </a:solidFill>
              <a:latin typeface="Segoe UI" panose="020B0502040204020203" pitchFamily="34" charset="0"/>
              <a:cs typeface="Segoe UI" panose="020B0502040204020203" pitchFamily="34" charset="0"/>
            </a:endParaRPr>
          </a:p>
        </p:txBody>
      </p:sp>
      <p:sp>
        <p:nvSpPr>
          <p:cNvPr id="377" name="Rectangle 376"/>
          <p:cNvSpPr/>
          <p:nvPr userDrawn="1"/>
        </p:nvSpPr>
        <p:spPr>
          <a:xfrm flipH="1">
            <a:off x="207444" y="4863612"/>
            <a:ext cx="312289" cy="29282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8" name="Rectangle 377"/>
          <p:cNvSpPr/>
          <p:nvPr userDrawn="1"/>
        </p:nvSpPr>
        <p:spPr>
          <a:xfrm>
            <a:off x="563159" y="4858060"/>
            <a:ext cx="1969584" cy="318421"/>
          </a:xfrm>
          <a:prstGeom prst="rect">
            <a:avLst/>
          </a:prstGeom>
        </p:spPr>
        <p:txBody>
          <a:bodyPr wrap="square">
            <a:spAutoFit/>
          </a:bodyPr>
          <a:lstStyle/>
          <a:p>
            <a:pPr>
              <a:lnSpc>
                <a:spcPct val="120000"/>
              </a:lnSpc>
              <a:spcAft>
                <a:spcPts val="600"/>
              </a:spcAft>
              <a:buClr>
                <a:srgbClr val="A32946"/>
              </a:buClr>
            </a:pPr>
            <a:r>
              <a:rPr lang="en-NZ" sz="1200" b="1">
                <a:latin typeface="Segoe UI" panose="020B0502040204020203" pitchFamily="34" charset="0"/>
                <a:cs typeface="Segoe UI" panose="020B0502040204020203" pitchFamily="34" charset="0"/>
              </a:rPr>
              <a:t>WIN STRATEGY</a:t>
            </a:r>
          </a:p>
        </p:txBody>
      </p:sp>
      <p:sp>
        <p:nvSpPr>
          <p:cNvPr id="379" name="Freeform 251"/>
          <p:cNvSpPr>
            <a:spLocks noEditPoints="1"/>
          </p:cNvSpPr>
          <p:nvPr userDrawn="1"/>
        </p:nvSpPr>
        <p:spPr bwMode="auto">
          <a:xfrm>
            <a:off x="267578" y="4913951"/>
            <a:ext cx="226625" cy="212725"/>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rgbClr val="00ABEC"/>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
        <p:nvSpPr>
          <p:cNvPr id="395" name="Text Placeholder 390"/>
          <p:cNvSpPr>
            <a:spLocks noGrp="1"/>
          </p:cNvSpPr>
          <p:nvPr>
            <p:ph type="body" sz="quarter" idx="15"/>
          </p:nvPr>
        </p:nvSpPr>
        <p:spPr>
          <a:xfrm>
            <a:off x="205273" y="1609370"/>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396" name="Text Placeholder 390"/>
          <p:cNvSpPr>
            <a:spLocks noGrp="1"/>
          </p:cNvSpPr>
          <p:nvPr>
            <p:ph type="body" sz="quarter" idx="16"/>
          </p:nvPr>
        </p:nvSpPr>
        <p:spPr>
          <a:xfrm>
            <a:off x="2797421" y="1602072"/>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grpSp>
        <p:nvGrpSpPr>
          <p:cNvPr id="56" name="Group 55"/>
          <p:cNvGrpSpPr/>
          <p:nvPr userDrawn="1"/>
        </p:nvGrpSpPr>
        <p:grpSpPr>
          <a:xfrm>
            <a:off x="2910351" y="1276326"/>
            <a:ext cx="279563" cy="279563"/>
            <a:chOff x="3835844" y="1728221"/>
            <a:chExt cx="556345" cy="556345"/>
          </a:xfrm>
          <a:solidFill>
            <a:srgbClr val="00ABEC"/>
          </a:solidFill>
        </p:grpSpPr>
        <p:sp>
          <p:nvSpPr>
            <p:cNvPr id="57" name="Freeform 21"/>
            <p:cNvSpPr>
              <a:spLocks noEditPoints="1"/>
            </p:cNvSpPr>
            <p:nvPr/>
          </p:nvSpPr>
          <p:spPr bwMode="auto">
            <a:xfrm>
              <a:off x="3835844" y="1728221"/>
              <a:ext cx="556345" cy="556345"/>
            </a:xfrm>
            <a:custGeom>
              <a:avLst/>
              <a:gdLst>
                <a:gd name="T0" fmla="*/ 704 w 763"/>
                <a:gd name="T1" fmla="*/ 470 h 765"/>
                <a:gd name="T2" fmla="*/ 685 w 763"/>
                <a:gd name="T3" fmla="*/ 546 h 765"/>
                <a:gd name="T4" fmla="*/ 638 w 763"/>
                <a:gd name="T5" fmla="*/ 563 h 765"/>
                <a:gd name="T6" fmla="*/ 627 w 763"/>
                <a:gd name="T7" fmla="*/ 640 h 765"/>
                <a:gd name="T8" fmla="*/ 554 w 763"/>
                <a:gd name="T9" fmla="*/ 641 h 765"/>
                <a:gd name="T10" fmla="*/ 526 w 763"/>
                <a:gd name="T11" fmla="*/ 708 h 765"/>
                <a:gd name="T12" fmla="*/ 450 w 763"/>
                <a:gd name="T13" fmla="*/ 689 h 765"/>
                <a:gd name="T14" fmla="*/ 407 w 763"/>
                <a:gd name="T15" fmla="*/ 733 h 765"/>
                <a:gd name="T16" fmla="*/ 331 w 763"/>
                <a:gd name="T17" fmla="*/ 697 h 765"/>
                <a:gd name="T18" fmla="*/ 303 w 763"/>
                <a:gd name="T19" fmla="*/ 701 h 765"/>
                <a:gd name="T20" fmla="*/ 219 w 763"/>
                <a:gd name="T21" fmla="*/ 689 h 765"/>
                <a:gd name="T22" fmla="*/ 199 w 763"/>
                <a:gd name="T23" fmla="*/ 639 h 765"/>
                <a:gd name="T24" fmla="*/ 119 w 763"/>
                <a:gd name="T25" fmla="*/ 621 h 765"/>
                <a:gd name="T26" fmla="*/ 121 w 763"/>
                <a:gd name="T27" fmla="*/ 552 h 765"/>
                <a:gd name="T28" fmla="*/ 60 w 763"/>
                <a:gd name="T29" fmla="*/ 533 h 765"/>
                <a:gd name="T30" fmla="*/ 74 w 763"/>
                <a:gd name="T31" fmla="*/ 455 h 765"/>
                <a:gd name="T32" fmla="*/ 37 w 763"/>
                <a:gd name="T33" fmla="*/ 416 h 765"/>
                <a:gd name="T34" fmla="*/ 58 w 763"/>
                <a:gd name="T35" fmla="*/ 335 h 765"/>
                <a:gd name="T36" fmla="*/ 58 w 763"/>
                <a:gd name="T37" fmla="*/ 298 h 765"/>
                <a:gd name="T38" fmla="*/ 77 w 763"/>
                <a:gd name="T39" fmla="*/ 219 h 765"/>
                <a:gd name="T40" fmla="*/ 126 w 763"/>
                <a:gd name="T41" fmla="*/ 203 h 765"/>
                <a:gd name="T42" fmla="*/ 136 w 763"/>
                <a:gd name="T43" fmla="*/ 125 h 765"/>
                <a:gd name="T44" fmla="*/ 209 w 763"/>
                <a:gd name="T45" fmla="*/ 126 h 765"/>
                <a:gd name="T46" fmla="*/ 237 w 763"/>
                <a:gd name="T47" fmla="*/ 58 h 765"/>
                <a:gd name="T48" fmla="*/ 314 w 763"/>
                <a:gd name="T49" fmla="*/ 78 h 765"/>
                <a:gd name="T50" fmla="*/ 355 w 763"/>
                <a:gd name="T51" fmla="*/ 33 h 765"/>
                <a:gd name="T52" fmla="*/ 432 w 763"/>
                <a:gd name="T53" fmla="*/ 68 h 765"/>
                <a:gd name="T54" fmla="*/ 475 w 763"/>
                <a:gd name="T55" fmla="*/ 55 h 765"/>
                <a:gd name="T56" fmla="*/ 549 w 763"/>
                <a:gd name="T57" fmla="*/ 94 h 765"/>
                <a:gd name="T58" fmla="*/ 576 w 763"/>
                <a:gd name="T59" fmla="*/ 121 h 765"/>
                <a:gd name="T60" fmla="*/ 649 w 763"/>
                <a:gd name="T61" fmla="*/ 163 h 765"/>
                <a:gd name="T62" fmla="*/ 649 w 763"/>
                <a:gd name="T63" fmla="*/ 216 h 765"/>
                <a:gd name="T64" fmla="*/ 711 w 763"/>
                <a:gd name="T65" fmla="*/ 246 h 765"/>
                <a:gd name="T66" fmla="*/ 686 w 763"/>
                <a:gd name="T67" fmla="*/ 319 h 765"/>
                <a:gd name="T68" fmla="*/ 736 w 763"/>
                <a:gd name="T69" fmla="*/ 366 h 765"/>
                <a:gd name="T70" fmla="*/ 763 w 763"/>
                <a:gd name="T71" fmla="*/ 383 h 765"/>
                <a:gd name="T72" fmla="*/ 738 w 763"/>
                <a:gd name="T73" fmla="*/ 288 h 765"/>
                <a:gd name="T74" fmla="*/ 692 w 763"/>
                <a:gd name="T75" fmla="*/ 195 h 765"/>
                <a:gd name="T76" fmla="*/ 646 w 763"/>
                <a:gd name="T77" fmla="*/ 108 h 765"/>
                <a:gd name="T78" fmla="*/ 570 w 763"/>
                <a:gd name="T79" fmla="*/ 75 h 765"/>
                <a:gd name="T80" fmla="*/ 477 w 763"/>
                <a:gd name="T81" fmla="*/ 28 h 765"/>
                <a:gd name="T82" fmla="*/ 381 w 763"/>
                <a:gd name="T83" fmla="*/ 0 h 765"/>
                <a:gd name="T84" fmla="*/ 287 w 763"/>
                <a:gd name="T85" fmla="*/ 28 h 765"/>
                <a:gd name="T86" fmla="*/ 193 w 763"/>
                <a:gd name="T87" fmla="*/ 73 h 765"/>
                <a:gd name="T88" fmla="*/ 117 w 763"/>
                <a:gd name="T89" fmla="*/ 108 h 765"/>
                <a:gd name="T90" fmla="*/ 72 w 763"/>
                <a:gd name="T91" fmla="*/ 195 h 765"/>
                <a:gd name="T92" fmla="*/ 26 w 763"/>
                <a:gd name="T93" fmla="*/ 288 h 765"/>
                <a:gd name="T94" fmla="*/ 0 w 763"/>
                <a:gd name="T95" fmla="*/ 383 h 765"/>
                <a:gd name="T96" fmla="*/ 26 w 763"/>
                <a:gd name="T97" fmla="*/ 478 h 765"/>
                <a:gd name="T98" fmla="*/ 72 w 763"/>
                <a:gd name="T99" fmla="*/ 572 h 765"/>
                <a:gd name="T100" fmla="*/ 117 w 763"/>
                <a:gd name="T101" fmla="*/ 659 h 765"/>
                <a:gd name="T102" fmla="*/ 193 w 763"/>
                <a:gd name="T103" fmla="*/ 693 h 765"/>
                <a:gd name="T104" fmla="*/ 287 w 763"/>
                <a:gd name="T105" fmla="*/ 738 h 765"/>
                <a:gd name="T106" fmla="*/ 381 w 763"/>
                <a:gd name="T107" fmla="*/ 765 h 765"/>
                <a:gd name="T108" fmla="*/ 477 w 763"/>
                <a:gd name="T109" fmla="*/ 738 h 765"/>
                <a:gd name="T110" fmla="*/ 570 w 763"/>
                <a:gd name="T111" fmla="*/ 693 h 765"/>
                <a:gd name="T112" fmla="*/ 646 w 763"/>
                <a:gd name="T113" fmla="*/ 659 h 765"/>
                <a:gd name="T114" fmla="*/ 692 w 763"/>
                <a:gd name="T115" fmla="*/ 572 h 765"/>
                <a:gd name="T116" fmla="*/ 738 w 763"/>
                <a:gd name="T117" fmla="*/ 478 h 765"/>
                <a:gd name="T118" fmla="*/ 763 w 763"/>
                <a:gd name="T119" fmla="*/ 383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765">
                  <a:moveTo>
                    <a:pt x="696" y="434"/>
                  </a:moveTo>
                  <a:lnTo>
                    <a:pt x="693" y="435"/>
                  </a:lnTo>
                  <a:lnTo>
                    <a:pt x="689" y="437"/>
                  </a:lnTo>
                  <a:lnTo>
                    <a:pt x="687" y="441"/>
                  </a:lnTo>
                  <a:lnTo>
                    <a:pt x="686" y="444"/>
                  </a:lnTo>
                  <a:lnTo>
                    <a:pt x="686" y="448"/>
                  </a:lnTo>
                  <a:lnTo>
                    <a:pt x="687" y="451"/>
                  </a:lnTo>
                  <a:lnTo>
                    <a:pt x="688" y="455"/>
                  </a:lnTo>
                  <a:lnTo>
                    <a:pt x="692" y="457"/>
                  </a:lnTo>
                  <a:lnTo>
                    <a:pt x="699" y="462"/>
                  </a:lnTo>
                  <a:lnTo>
                    <a:pt x="704" y="470"/>
                  </a:lnTo>
                  <a:lnTo>
                    <a:pt x="710" y="477"/>
                  </a:lnTo>
                  <a:lnTo>
                    <a:pt x="713" y="485"/>
                  </a:lnTo>
                  <a:lnTo>
                    <a:pt x="714" y="493"/>
                  </a:lnTo>
                  <a:lnTo>
                    <a:pt x="715" y="503"/>
                  </a:lnTo>
                  <a:lnTo>
                    <a:pt x="714" y="512"/>
                  </a:lnTo>
                  <a:lnTo>
                    <a:pt x="711" y="520"/>
                  </a:lnTo>
                  <a:lnTo>
                    <a:pt x="708" y="527"/>
                  </a:lnTo>
                  <a:lnTo>
                    <a:pt x="703" y="533"/>
                  </a:lnTo>
                  <a:lnTo>
                    <a:pt x="698" y="538"/>
                  </a:lnTo>
                  <a:lnTo>
                    <a:pt x="693" y="543"/>
                  </a:lnTo>
                  <a:lnTo>
                    <a:pt x="685" y="546"/>
                  </a:lnTo>
                  <a:lnTo>
                    <a:pt x="679" y="549"/>
                  </a:lnTo>
                  <a:lnTo>
                    <a:pt x="671" y="550"/>
                  </a:lnTo>
                  <a:lnTo>
                    <a:pt x="664" y="551"/>
                  </a:lnTo>
                  <a:lnTo>
                    <a:pt x="658" y="551"/>
                  </a:lnTo>
                  <a:lnTo>
                    <a:pt x="653" y="551"/>
                  </a:lnTo>
                  <a:lnTo>
                    <a:pt x="649" y="550"/>
                  </a:lnTo>
                  <a:lnTo>
                    <a:pt x="645" y="551"/>
                  </a:lnTo>
                  <a:lnTo>
                    <a:pt x="642" y="552"/>
                  </a:lnTo>
                  <a:lnTo>
                    <a:pt x="640" y="556"/>
                  </a:lnTo>
                  <a:lnTo>
                    <a:pt x="638" y="559"/>
                  </a:lnTo>
                  <a:lnTo>
                    <a:pt x="638" y="563"/>
                  </a:lnTo>
                  <a:lnTo>
                    <a:pt x="638" y="566"/>
                  </a:lnTo>
                  <a:lnTo>
                    <a:pt x="640" y="570"/>
                  </a:lnTo>
                  <a:lnTo>
                    <a:pt x="644" y="578"/>
                  </a:lnTo>
                  <a:lnTo>
                    <a:pt x="648" y="587"/>
                  </a:lnTo>
                  <a:lnTo>
                    <a:pt x="649" y="595"/>
                  </a:lnTo>
                  <a:lnTo>
                    <a:pt x="649" y="604"/>
                  </a:lnTo>
                  <a:lnTo>
                    <a:pt x="648" y="612"/>
                  </a:lnTo>
                  <a:lnTo>
                    <a:pt x="644" y="621"/>
                  </a:lnTo>
                  <a:lnTo>
                    <a:pt x="640" y="629"/>
                  </a:lnTo>
                  <a:lnTo>
                    <a:pt x="634" y="635"/>
                  </a:lnTo>
                  <a:lnTo>
                    <a:pt x="627" y="640"/>
                  </a:lnTo>
                  <a:lnTo>
                    <a:pt x="620" y="646"/>
                  </a:lnTo>
                  <a:lnTo>
                    <a:pt x="611" y="648"/>
                  </a:lnTo>
                  <a:lnTo>
                    <a:pt x="602" y="650"/>
                  </a:lnTo>
                  <a:lnTo>
                    <a:pt x="593" y="650"/>
                  </a:lnTo>
                  <a:lnTo>
                    <a:pt x="584" y="649"/>
                  </a:lnTo>
                  <a:lnTo>
                    <a:pt x="576" y="646"/>
                  </a:lnTo>
                  <a:lnTo>
                    <a:pt x="568" y="641"/>
                  </a:lnTo>
                  <a:lnTo>
                    <a:pt x="565" y="639"/>
                  </a:lnTo>
                  <a:lnTo>
                    <a:pt x="562" y="639"/>
                  </a:lnTo>
                  <a:lnTo>
                    <a:pt x="557" y="639"/>
                  </a:lnTo>
                  <a:lnTo>
                    <a:pt x="554" y="641"/>
                  </a:lnTo>
                  <a:lnTo>
                    <a:pt x="551" y="644"/>
                  </a:lnTo>
                  <a:lnTo>
                    <a:pt x="550" y="647"/>
                  </a:lnTo>
                  <a:lnTo>
                    <a:pt x="549" y="650"/>
                  </a:lnTo>
                  <a:lnTo>
                    <a:pt x="549" y="654"/>
                  </a:lnTo>
                  <a:lnTo>
                    <a:pt x="550" y="663"/>
                  </a:lnTo>
                  <a:lnTo>
                    <a:pt x="549" y="673"/>
                  </a:lnTo>
                  <a:lnTo>
                    <a:pt x="548" y="681"/>
                  </a:lnTo>
                  <a:lnTo>
                    <a:pt x="543" y="689"/>
                  </a:lnTo>
                  <a:lnTo>
                    <a:pt x="539" y="696"/>
                  </a:lnTo>
                  <a:lnTo>
                    <a:pt x="534" y="703"/>
                  </a:lnTo>
                  <a:lnTo>
                    <a:pt x="526" y="708"/>
                  </a:lnTo>
                  <a:lnTo>
                    <a:pt x="518" y="712"/>
                  </a:lnTo>
                  <a:lnTo>
                    <a:pt x="509" y="716"/>
                  </a:lnTo>
                  <a:lnTo>
                    <a:pt x="500" y="717"/>
                  </a:lnTo>
                  <a:lnTo>
                    <a:pt x="492" y="716"/>
                  </a:lnTo>
                  <a:lnTo>
                    <a:pt x="483" y="714"/>
                  </a:lnTo>
                  <a:lnTo>
                    <a:pt x="475" y="711"/>
                  </a:lnTo>
                  <a:lnTo>
                    <a:pt x="467" y="706"/>
                  </a:lnTo>
                  <a:lnTo>
                    <a:pt x="461" y="701"/>
                  </a:lnTo>
                  <a:lnTo>
                    <a:pt x="455" y="693"/>
                  </a:lnTo>
                  <a:lnTo>
                    <a:pt x="453" y="691"/>
                  </a:lnTo>
                  <a:lnTo>
                    <a:pt x="450" y="689"/>
                  </a:lnTo>
                  <a:lnTo>
                    <a:pt x="446" y="688"/>
                  </a:lnTo>
                  <a:lnTo>
                    <a:pt x="442" y="688"/>
                  </a:lnTo>
                  <a:lnTo>
                    <a:pt x="438" y="689"/>
                  </a:lnTo>
                  <a:lnTo>
                    <a:pt x="436" y="691"/>
                  </a:lnTo>
                  <a:lnTo>
                    <a:pt x="434" y="694"/>
                  </a:lnTo>
                  <a:lnTo>
                    <a:pt x="432" y="697"/>
                  </a:lnTo>
                  <a:lnTo>
                    <a:pt x="430" y="706"/>
                  </a:lnTo>
                  <a:lnTo>
                    <a:pt x="425" y="714"/>
                  </a:lnTo>
                  <a:lnTo>
                    <a:pt x="421" y="722"/>
                  </a:lnTo>
                  <a:lnTo>
                    <a:pt x="415" y="727"/>
                  </a:lnTo>
                  <a:lnTo>
                    <a:pt x="407" y="733"/>
                  </a:lnTo>
                  <a:lnTo>
                    <a:pt x="400" y="736"/>
                  </a:lnTo>
                  <a:lnTo>
                    <a:pt x="391" y="738"/>
                  </a:lnTo>
                  <a:lnTo>
                    <a:pt x="381" y="739"/>
                  </a:lnTo>
                  <a:lnTo>
                    <a:pt x="373" y="738"/>
                  </a:lnTo>
                  <a:lnTo>
                    <a:pt x="364" y="736"/>
                  </a:lnTo>
                  <a:lnTo>
                    <a:pt x="355" y="733"/>
                  </a:lnTo>
                  <a:lnTo>
                    <a:pt x="349" y="727"/>
                  </a:lnTo>
                  <a:lnTo>
                    <a:pt x="343" y="722"/>
                  </a:lnTo>
                  <a:lnTo>
                    <a:pt x="337" y="714"/>
                  </a:lnTo>
                  <a:lnTo>
                    <a:pt x="334" y="706"/>
                  </a:lnTo>
                  <a:lnTo>
                    <a:pt x="331" y="697"/>
                  </a:lnTo>
                  <a:lnTo>
                    <a:pt x="330" y="694"/>
                  </a:lnTo>
                  <a:lnTo>
                    <a:pt x="328" y="691"/>
                  </a:lnTo>
                  <a:lnTo>
                    <a:pt x="324" y="689"/>
                  </a:lnTo>
                  <a:lnTo>
                    <a:pt x="321" y="688"/>
                  </a:lnTo>
                  <a:lnTo>
                    <a:pt x="320" y="688"/>
                  </a:lnTo>
                  <a:lnTo>
                    <a:pt x="319" y="688"/>
                  </a:lnTo>
                  <a:lnTo>
                    <a:pt x="316" y="688"/>
                  </a:lnTo>
                  <a:lnTo>
                    <a:pt x="313" y="689"/>
                  </a:lnTo>
                  <a:lnTo>
                    <a:pt x="310" y="691"/>
                  </a:lnTo>
                  <a:lnTo>
                    <a:pt x="308" y="693"/>
                  </a:lnTo>
                  <a:lnTo>
                    <a:pt x="303" y="701"/>
                  </a:lnTo>
                  <a:lnTo>
                    <a:pt x="295" y="706"/>
                  </a:lnTo>
                  <a:lnTo>
                    <a:pt x="288" y="711"/>
                  </a:lnTo>
                  <a:lnTo>
                    <a:pt x="280" y="714"/>
                  </a:lnTo>
                  <a:lnTo>
                    <a:pt x="272" y="716"/>
                  </a:lnTo>
                  <a:lnTo>
                    <a:pt x="263" y="717"/>
                  </a:lnTo>
                  <a:lnTo>
                    <a:pt x="253" y="716"/>
                  </a:lnTo>
                  <a:lnTo>
                    <a:pt x="245" y="712"/>
                  </a:lnTo>
                  <a:lnTo>
                    <a:pt x="237" y="708"/>
                  </a:lnTo>
                  <a:lnTo>
                    <a:pt x="230" y="703"/>
                  </a:lnTo>
                  <a:lnTo>
                    <a:pt x="225" y="696"/>
                  </a:lnTo>
                  <a:lnTo>
                    <a:pt x="219" y="689"/>
                  </a:lnTo>
                  <a:lnTo>
                    <a:pt x="216" y="681"/>
                  </a:lnTo>
                  <a:lnTo>
                    <a:pt x="214" y="673"/>
                  </a:lnTo>
                  <a:lnTo>
                    <a:pt x="214" y="663"/>
                  </a:lnTo>
                  <a:lnTo>
                    <a:pt x="215" y="654"/>
                  </a:lnTo>
                  <a:lnTo>
                    <a:pt x="215" y="650"/>
                  </a:lnTo>
                  <a:lnTo>
                    <a:pt x="214" y="647"/>
                  </a:lnTo>
                  <a:lnTo>
                    <a:pt x="212" y="644"/>
                  </a:lnTo>
                  <a:lnTo>
                    <a:pt x="209" y="641"/>
                  </a:lnTo>
                  <a:lnTo>
                    <a:pt x="206" y="639"/>
                  </a:lnTo>
                  <a:lnTo>
                    <a:pt x="202" y="639"/>
                  </a:lnTo>
                  <a:lnTo>
                    <a:pt x="199" y="639"/>
                  </a:lnTo>
                  <a:lnTo>
                    <a:pt x="194" y="641"/>
                  </a:lnTo>
                  <a:lnTo>
                    <a:pt x="187" y="646"/>
                  </a:lnTo>
                  <a:lnTo>
                    <a:pt x="178" y="649"/>
                  </a:lnTo>
                  <a:lnTo>
                    <a:pt x="170" y="650"/>
                  </a:lnTo>
                  <a:lnTo>
                    <a:pt x="161" y="650"/>
                  </a:lnTo>
                  <a:lnTo>
                    <a:pt x="153" y="649"/>
                  </a:lnTo>
                  <a:lnTo>
                    <a:pt x="144" y="646"/>
                  </a:lnTo>
                  <a:lnTo>
                    <a:pt x="136" y="640"/>
                  </a:lnTo>
                  <a:lnTo>
                    <a:pt x="130" y="635"/>
                  </a:lnTo>
                  <a:lnTo>
                    <a:pt x="124" y="629"/>
                  </a:lnTo>
                  <a:lnTo>
                    <a:pt x="119" y="621"/>
                  </a:lnTo>
                  <a:lnTo>
                    <a:pt x="116" y="612"/>
                  </a:lnTo>
                  <a:lnTo>
                    <a:pt x="115" y="604"/>
                  </a:lnTo>
                  <a:lnTo>
                    <a:pt x="115" y="595"/>
                  </a:lnTo>
                  <a:lnTo>
                    <a:pt x="116" y="587"/>
                  </a:lnTo>
                  <a:lnTo>
                    <a:pt x="119" y="578"/>
                  </a:lnTo>
                  <a:lnTo>
                    <a:pt x="124" y="570"/>
                  </a:lnTo>
                  <a:lnTo>
                    <a:pt x="125" y="566"/>
                  </a:lnTo>
                  <a:lnTo>
                    <a:pt x="126" y="563"/>
                  </a:lnTo>
                  <a:lnTo>
                    <a:pt x="126" y="559"/>
                  </a:lnTo>
                  <a:lnTo>
                    <a:pt x="124" y="556"/>
                  </a:lnTo>
                  <a:lnTo>
                    <a:pt x="121" y="552"/>
                  </a:lnTo>
                  <a:lnTo>
                    <a:pt x="118" y="551"/>
                  </a:lnTo>
                  <a:lnTo>
                    <a:pt x="114" y="550"/>
                  </a:lnTo>
                  <a:lnTo>
                    <a:pt x="111" y="551"/>
                  </a:lnTo>
                  <a:lnTo>
                    <a:pt x="105" y="551"/>
                  </a:lnTo>
                  <a:lnTo>
                    <a:pt x="100" y="551"/>
                  </a:lnTo>
                  <a:lnTo>
                    <a:pt x="92" y="550"/>
                  </a:lnTo>
                  <a:lnTo>
                    <a:pt x="85" y="549"/>
                  </a:lnTo>
                  <a:lnTo>
                    <a:pt x="77" y="546"/>
                  </a:lnTo>
                  <a:lnTo>
                    <a:pt x="71" y="543"/>
                  </a:lnTo>
                  <a:lnTo>
                    <a:pt x="66" y="538"/>
                  </a:lnTo>
                  <a:lnTo>
                    <a:pt x="60" y="533"/>
                  </a:lnTo>
                  <a:lnTo>
                    <a:pt x="56" y="527"/>
                  </a:lnTo>
                  <a:lnTo>
                    <a:pt x="53" y="520"/>
                  </a:lnTo>
                  <a:lnTo>
                    <a:pt x="49" y="512"/>
                  </a:lnTo>
                  <a:lnTo>
                    <a:pt x="48" y="503"/>
                  </a:lnTo>
                  <a:lnTo>
                    <a:pt x="48" y="493"/>
                  </a:lnTo>
                  <a:lnTo>
                    <a:pt x="51" y="485"/>
                  </a:lnTo>
                  <a:lnTo>
                    <a:pt x="54" y="477"/>
                  </a:lnTo>
                  <a:lnTo>
                    <a:pt x="58" y="470"/>
                  </a:lnTo>
                  <a:lnTo>
                    <a:pt x="65" y="462"/>
                  </a:lnTo>
                  <a:lnTo>
                    <a:pt x="72" y="457"/>
                  </a:lnTo>
                  <a:lnTo>
                    <a:pt x="74" y="455"/>
                  </a:lnTo>
                  <a:lnTo>
                    <a:pt x="76" y="451"/>
                  </a:lnTo>
                  <a:lnTo>
                    <a:pt x="77" y="448"/>
                  </a:lnTo>
                  <a:lnTo>
                    <a:pt x="77" y="444"/>
                  </a:lnTo>
                  <a:lnTo>
                    <a:pt x="76" y="441"/>
                  </a:lnTo>
                  <a:lnTo>
                    <a:pt x="74" y="437"/>
                  </a:lnTo>
                  <a:lnTo>
                    <a:pt x="71" y="435"/>
                  </a:lnTo>
                  <a:lnTo>
                    <a:pt x="67" y="434"/>
                  </a:lnTo>
                  <a:lnTo>
                    <a:pt x="58" y="431"/>
                  </a:lnTo>
                  <a:lnTo>
                    <a:pt x="51" y="427"/>
                  </a:lnTo>
                  <a:lnTo>
                    <a:pt x="43" y="422"/>
                  </a:lnTo>
                  <a:lnTo>
                    <a:pt x="37" y="416"/>
                  </a:lnTo>
                  <a:lnTo>
                    <a:pt x="32" y="408"/>
                  </a:lnTo>
                  <a:lnTo>
                    <a:pt x="28" y="401"/>
                  </a:lnTo>
                  <a:lnTo>
                    <a:pt x="26" y="392"/>
                  </a:lnTo>
                  <a:lnTo>
                    <a:pt x="25" y="383"/>
                  </a:lnTo>
                  <a:lnTo>
                    <a:pt x="26" y="374"/>
                  </a:lnTo>
                  <a:lnTo>
                    <a:pt x="28" y="366"/>
                  </a:lnTo>
                  <a:lnTo>
                    <a:pt x="32" y="357"/>
                  </a:lnTo>
                  <a:lnTo>
                    <a:pt x="37" y="350"/>
                  </a:lnTo>
                  <a:lnTo>
                    <a:pt x="43" y="344"/>
                  </a:lnTo>
                  <a:lnTo>
                    <a:pt x="51" y="339"/>
                  </a:lnTo>
                  <a:lnTo>
                    <a:pt x="58" y="335"/>
                  </a:lnTo>
                  <a:lnTo>
                    <a:pt x="67" y="333"/>
                  </a:lnTo>
                  <a:lnTo>
                    <a:pt x="71" y="332"/>
                  </a:lnTo>
                  <a:lnTo>
                    <a:pt x="74" y="329"/>
                  </a:lnTo>
                  <a:lnTo>
                    <a:pt x="76" y="327"/>
                  </a:lnTo>
                  <a:lnTo>
                    <a:pt x="77" y="323"/>
                  </a:lnTo>
                  <a:lnTo>
                    <a:pt x="77" y="319"/>
                  </a:lnTo>
                  <a:lnTo>
                    <a:pt x="76" y="316"/>
                  </a:lnTo>
                  <a:lnTo>
                    <a:pt x="74" y="313"/>
                  </a:lnTo>
                  <a:lnTo>
                    <a:pt x="72" y="310"/>
                  </a:lnTo>
                  <a:lnTo>
                    <a:pt x="65" y="304"/>
                  </a:lnTo>
                  <a:lnTo>
                    <a:pt x="58" y="298"/>
                  </a:lnTo>
                  <a:lnTo>
                    <a:pt x="54" y="290"/>
                  </a:lnTo>
                  <a:lnTo>
                    <a:pt x="51" y="282"/>
                  </a:lnTo>
                  <a:lnTo>
                    <a:pt x="48" y="273"/>
                  </a:lnTo>
                  <a:lnTo>
                    <a:pt x="48" y="265"/>
                  </a:lnTo>
                  <a:lnTo>
                    <a:pt x="49" y="255"/>
                  </a:lnTo>
                  <a:lnTo>
                    <a:pt x="53" y="246"/>
                  </a:lnTo>
                  <a:lnTo>
                    <a:pt x="56" y="240"/>
                  </a:lnTo>
                  <a:lnTo>
                    <a:pt x="60" y="233"/>
                  </a:lnTo>
                  <a:lnTo>
                    <a:pt x="66" y="228"/>
                  </a:lnTo>
                  <a:lnTo>
                    <a:pt x="71" y="224"/>
                  </a:lnTo>
                  <a:lnTo>
                    <a:pt x="77" y="219"/>
                  </a:lnTo>
                  <a:lnTo>
                    <a:pt x="85" y="217"/>
                  </a:lnTo>
                  <a:lnTo>
                    <a:pt x="92" y="215"/>
                  </a:lnTo>
                  <a:lnTo>
                    <a:pt x="100" y="215"/>
                  </a:lnTo>
                  <a:lnTo>
                    <a:pt x="105" y="215"/>
                  </a:lnTo>
                  <a:lnTo>
                    <a:pt x="111" y="216"/>
                  </a:lnTo>
                  <a:lnTo>
                    <a:pt x="114" y="216"/>
                  </a:lnTo>
                  <a:lnTo>
                    <a:pt x="118" y="215"/>
                  </a:lnTo>
                  <a:lnTo>
                    <a:pt x="121" y="213"/>
                  </a:lnTo>
                  <a:lnTo>
                    <a:pt x="124" y="211"/>
                  </a:lnTo>
                  <a:lnTo>
                    <a:pt x="126" y="208"/>
                  </a:lnTo>
                  <a:lnTo>
                    <a:pt x="126" y="203"/>
                  </a:lnTo>
                  <a:lnTo>
                    <a:pt x="125" y="200"/>
                  </a:lnTo>
                  <a:lnTo>
                    <a:pt x="124" y="197"/>
                  </a:lnTo>
                  <a:lnTo>
                    <a:pt x="119" y="189"/>
                  </a:lnTo>
                  <a:lnTo>
                    <a:pt x="116" y="181"/>
                  </a:lnTo>
                  <a:lnTo>
                    <a:pt x="115" y="171"/>
                  </a:lnTo>
                  <a:lnTo>
                    <a:pt x="115" y="163"/>
                  </a:lnTo>
                  <a:lnTo>
                    <a:pt x="116" y="154"/>
                  </a:lnTo>
                  <a:lnTo>
                    <a:pt x="119" y="145"/>
                  </a:lnTo>
                  <a:lnTo>
                    <a:pt x="124" y="138"/>
                  </a:lnTo>
                  <a:lnTo>
                    <a:pt x="130" y="130"/>
                  </a:lnTo>
                  <a:lnTo>
                    <a:pt x="136" y="125"/>
                  </a:lnTo>
                  <a:lnTo>
                    <a:pt x="144" y="121"/>
                  </a:lnTo>
                  <a:lnTo>
                    <a:pt x="153" y="119"/>
                  </a:lnTo>
                  <a:lnTo>
                    <a:pt x="161" y="116"/>
                  </a:lnTo>
                  <a:lnTo>
                    <a:pt x="170" y="116"/>
                  </a:lnTo>
                  <a:lnTo>
                    <a:pt x="178" y="119"/>
                  </a:lnTo>
                  <a:lnTo>
                    <a:pt x="187" y="121"/>
                  </a:lnTo>
                  <a:lnTo>
                    <a:pt x="194" y="126"/>
                  </a:lnTo>
                  <a:lnTo>
                    <a:pt x="199" y="127"/>
                  </a:lnTo>
                  <a:lnTo>
                    <a:pt x="202" y="127"/>
                  </a:lnTo>
                  <a:lnTo>
                    <a:pt x="206" y="127"/>
                  </a:lnTo>
                  <a:lnTo>
                    <a:pt x="209" y="126"/>
                  </a:lnTo>
                  <a:lnTo>
                    <a:pt x="212" y="123"/>
                  </a:lnTo>
                  <a:lnTo>
                    <a:pt x="214" y="119"/>
                  </a:lnTo>
                  <a:lnTo>
                    <a:pt x="215" y="115"/>
                  </a:lnTo>
                  <a:lnTo>
                    <a:pt x="215" y="111"/>
                  </a:lnTo>
                  <a:lnTo>
                    <a:pt x="214" y="102"/>
                  </a:lnTo>
                  <a:lnTo>
                    <a:pt x="214" y="94"/>
                  </a:lnTo>
                  <a:lnTo>
                    <a:pt x="216" y="85"/>
                  </a:lnTo>
                  <a:lnTo>
                    <a:pt x="219" y="77"/>
                  </a:lnTo>
                  <a:lnTo>
                    <a:pt x="225" y="70"/>
                  </a:lnTo>
                  <a:lnTo>
                    <a:pt x="230" y="64"/>
                  </a:lnTo>
                  <a:lnTo>
                    <a:pt x="237" y="58"/>
                  </a:lnTo>
                  <a:lnTo>
                    <a:pt x="245" y="54"/>
                  </a:lnTo>
                  <a:lnTo>
                    <a:pt x="253" y="51"/>
                  </a:lnTo>
                  <a:lnTo>
                    <a:pt x="263" y="50"/>
                  </a:lnTo>
                  <a:lnTo>
                    <a:pt x="272" y="51"/>
                  </a:lnTo>
                  <a:lnTo>
                    <a:pt x="280" y="52"/>
                  </a:lnTo>
                  <a:lnTo>
                    <a:pt x="288" y="55"/>
                  </a:lnTo>
                  <a:lnTo>
                    <a:pt x="295" y="61"/>
                  </a:lnTo>
                  <a:lnTo>
                    <a:pt x="303" y="66"/>
                  </a:lnTo>
                  <a:lnTo>
                    <a:pt x="308" y="73"/>
                  </a:lnTo>
                  <a:lnTo>
                    <a:pt x="310" y="76"/>
                  </a:lnTo>
                  <a:lnTo>
                    <a:pt x="314" y="78"/>
                  </a:lnTo>
                  <a:lnTo>
                    <a:pt x="317" y="79"/>
                  </a:lnTo>
                  <a:lnTo>
                    <a:pt x="321" y="79"/>
                  </a:lnTo>
                  <a:lnTo>
                    <a:pt x="324" y="78"/>
                  </a:lnTo>
                  <a:lnTo>
                    <a:pt x="328" y="76"/>
                  </a:lnTo>
                  <a:lnTo>
                    <a:pt x="330" y="72"/>
                  </a:lnTo>
                  <a:lnTo>
                    <a:pt x="331" y="68"/>
                  </a:lnTo>
                  <a:lnTo>
                    <a:pt x="334" y="59"/>
                  </a:lnTo>
                  <a:lnTo>
                    <a:pt x="337" y="52"/>
                  </a:lnTo>
                  <a:lnTo>
                    <a:pt x="343" y="44"/>
                  </a:lnTo>
                  <a:lnTo>
                    <a:pt x="349" y="38"/>
                  </a:lnTo>
                  <a:lnTo>
                    <a:pt x="355" y="33"/>
                  </a:lnTo>
                  <a:lnTo>
                    <a:pt x="364" y="29"/>
                  </a:lnTo>
                  <a:lnTo>
                    <a:pt x="373" y="27"/>
                  </a:lnTo>
                  <a:lnTo>
                    <a:pt x="381" y="26"/>
                  </a:lnTo>
                  <a:lnTo>
                    <a:pt x="391" y="27"/>
                  </a:lnTo>
                  <a:lnTo>
                    <a:pt x="400" y="29"/>
                  </a:lnTo>
                  <a:lnTo>
                    <a:pt x="407" y="33"/>
                  </a:lnTo>
                  <a:lnTo>
                    <a:pt x="415" y="38"/>
                  </a:lnTo>
                  <a:lnTo>
                    <a:pt x="421" y="44"/>
                  </a:lnTo>
                  <a:lnTo>
                    <a:pt x="425" y="52"/>
                  </a:lnTo>
                  <a:lnTo>
                    <a:pt x="430" y="59"/>
                  </a:lnTo>
                  <a:lnTo>
                    <a:pt x="432" y="68"/>
                  </a:lnTo>
                  <a:lnTo>
                    <a:pt x="434" y="72"/>
                  </a:lnTo>
                  <a:lnTo>
                    <a:pt x="436" y="76"/>
                  </a:lnTo>
                  <a:lnTo>
                    <a:pt x="438" y="78"/>
                  </a:lnTo>
                  <a:lnTo>
                    <a:pt x="442" y="79"/>
                  </a:lnTo>
                  <a:lnTo>
                    <a:pt x="446" y="79"/>
                  </a:lnTo>
                  <a:lnTo>
                    <a:pt x="450" y="78"/>
                  </a:lnTo>
                  <a:lnTo>
                    <a:pt x="453" y="76"/>
                  </a:lnTo>
                  <a:lnTo>
                    <a:pt x="455" y="73"/>
                  </a:lnTo>
                  <a:lnTo>
                    <a:pt x="461" y="66"/>
                  </a:lnTo>
                  <a:lnTo>
                    <a:pt x="467" y="61"/>
                  </a:lnTo>
                  <a:lnTo>
                    <a:pt x="475" y="55"/>
                  </a:lnTo>
                  <a:lnTo>
                    <a:pt x="483" y="52"/>
                  </a:lnTo>
                  <a:lnTo>
                    <a:pt x="492" y="51"/>
                  </a:lnTo>
                  <a:lnTo>
                    <a:pt x="500" y="50"/>
                  </a:lnTo>
                  <a:lnTo>
                    <a:pt x="509" y="51"/>
                  </a:lnTo>
                  <a:lnTo>
                    <a:pt x="518" y="54"/>
                  </a:lnTo>
                  <a:lnTo>
                    <a:pt x="526" y="58"/>
                  </a:lnTo>
                  <a:lnTo>
                    <a:pt x="534" y="64"/>
                  </a:lnTo>
                  <a:lnTo>
                    <a:pt x="539" y="70"/>
                  </a:lnTo>
                  <a:lnTo>
                    <a:pt x="543" y="77"/>
                  </a:lnTo>
                  <a:lnTo>
                    <a:pt x="548" y="85"/>
                  </a:lnTo>
                  <a:lnTo>
                    <a:pt x="549" y="94"/>
                  </a:lnTo>
                  <a:lnTo>
                    <a:pt x="550" y="102"/>
                  </a:lnTo>
                  <a:lnTo>
                    <a:pt x="549" y="111"/>
                  </a:lnTo>
                  <a:lnTo>
                    <a:pt x="549" y="115"/>
                  </a:lnTo>
                  <a:lnTo>
                    <a:pt x="550" y="119"/>
                  </a:lnTo>
                  <a:lnTo>
                    <a:pt x="551" y="123"/>
                  </a:lnTo>
                  <a:lnTo>
                    <a:pt x="554" y="126"/>
                  </a:lnTo>
                  <a:lnTo>
                    <a:pt x="557" y="127"/>
                  </a:lnTo>
                  <a:lnTo>
                    <a:pt x="562" y="127"/>
                  </a:lnTo>
                  <a:lnTo>
                    <a:pt x="565" y="127"/>
                  </a:lnTo>
                  <a:lnTo>
                    <a:pt x="568" y="126"/>
                  </a:lnTo>
                  <a:lnTo>
                    <a:pt x="576" y="121"/>
                  </a:lnTo>
                  <a:lnTo>
                    <a:pt x="584" y="119"/>
                  </a:lnTo>
                  <a:lnTo>
                    <a:pt x="593" y="116"/>
                  </a:lnTo>
                  <a:lnTo>
                    <a:pt x="602" y="116"/>
                  </a:lnTo>
                  <a:lnTo>
                    <a:pt x="611" y="119"/>
                  </a:lnTo>
                  <a:lnTo>
                    <a:pt x="620" y="121"/>
                  </a:lnTo>
                  <a:lnTo>
                    <a:pt x="627" y="125"/>
                  </a:lnTo>
                  <a:lnTo>
                    <a:pt x="634" y="130"/>
                  </a:lnTo>
                  <a:lnTo>
                    <a:pt x="640" y="138"/>
                  </a:lnTo>
                  <a:lnTo>
                    <a:pt x="644" y="145"/>
                  </a:lnTo>
                  <a:lnTo>
                    <a:pt x="648" y="154"/>
                  </a:lnTo>
                  <a:lnTo>
                    <a:pt x="649" y="163"/>
                  </a:lnTo>
                  <a:lnTo>
                    <a:pt x="649" y="171"/>
                  </a:lnTo>
                  <a:lnTo>
                    <a:pt x="648" y="181"/>
                  </a:lnTo>
                  <a:lnTo>
                    <a:pt x="644" y="189"/>
                  </a:lnTo>
                  <a:lnTo>
                    <a:pt x="640" y="197"/>
                  </a:lnTo>
                  <a:lnTo>
                    <a:pt x="638" y="200"/>
                  </a:lnTo>
                  <a:lnTo>
                    <a:pt x="638" y="203"/>
                  </a:lnTo>
                  <a:lnTo>
                    <a:pt x="638" y="208"/>
                  </a:lnTo>
                  <a:lnTo>
                    <a:pt x="640" y="211"/>
                  </a:lnTo>
                  <a:lnTo>
                    <a:pt x="642" y="213"/>
                  </a:lnTo>
                  <a:lnTo>
                    <a:pt x="645" y="215"/>
                  </a:lnTo>
                  <a:lnTo>
                    <a:pt x="649" y="216"/>
                  </a:lnTo>
                  <a:lnTo>
                    <a:pt x="653" y="216"/>
                  </a:lnTo>
                  <a:lnTo>
                    <a:pt x="658" y="215"/>
                  </a:lnTo>
                  <a:lnTo>
                    <a:pt x="664" y="215"/>
                  </a:lnTo>
                  <a:lnTo>
                    <a:pt x="671" y="215"/>
                  </a:lnTo>
                  <a:lnTo>
                    <a:pt x="679" y="217"/>
                  </a:lnTo>
                  <a:lnTo>
                    <a:pt x="686" y="219"/>
                  </a:lnTo>
                  <a:lnTo>
                    <a:pt x="693" y="224"/>
                  </a:lnTo>
                  <a:lnTo>
                    <a:pt x="698" y="228"/>
                  </a:lnTo>
                  <a:lnTo>
                    <a:pt x="703" y="233"/>
                  </a:lnTo>
                  <a:lnTo>
                    <a:pt x="708" y="240"/>
                  </a:lnTo>
                  <a:lnTo>
                    <a:pt x="711" y="246"/>
                  </a:lnTo>
                  <a:lnTo>
                    <a:pt x="714" y="255"/>
                  </a:lnTo>
                  <a:lnTo>
                    <a:pt x="715" y="265"/>
                  </a:lnTo>
                  <a:lnTo>
                    <a:pt x="714" y="273"/>
                  </a:lnTo>
                  <a:lnTo>
                    <a:pt x="713" y="282"/>
                  </a:lnTo>
                  <a:lnTo>
                    <a:pt x="710" y="290"/>
                  </a:lnTo>
                  <a:lnTo>
                    <a:pt x="704" y="298"/>
                  </a:lnTo>
                  <a:lnTo>
                    <a:pt x="699" y="304"/>
                  </a:lnTo>
                  <a:lnTo>
                    <a:pt x="692" y="310"/>
                  </a:lnTo>
                  <a:lnTo>
                    <a:pt x="688" y="313"/>
                  </a:lnTo>
                  <a:lnTo>
                    <a:pt x="687" y="316"/>
                  </a:lnTo>
                  <a:lnTo>
                    <a:pt x="686" y="319"/>
                  </a:lnTo>
                  <a:lnTo>
                    <a:pt x="686" y="323"/>
                  </a:lnTo>
                  <a:lnTo>
                    <a:pt x="687" y="327"/>
                  </a:lnTo>
                  <a:lnTo>
                    <a:pt x="689" y="329"/>
                  </a:lnTo>
                  <a:lnTo>
                    <a:pt x="693" y="332"/>
                  </a:lnTo>
                  <a:lnTo>
                    <a:pt x="696" y="333"/>
                  </a:lnTo>
                  <a:lnTo>
                    <a:pt x="704" y="335"/>
                  </a:lnTo>
                  <a:lnTo>
                    <a:pt x="713" y="339"/>
                  </a:lnTo>
                  <a:lnTo>
                    <a:pt x="721" y="344"/>
                  </a:lnTo>
                  <a:lnTo>
                    <a:pt x="726" y="350"/>
                  </a:lnTo>
                  <a:lnTo>
                    <a:pt x="731" y="357"/>
                  </a:lnTo>
                  <a:lnTo>
                    <a:pt x="736" y="366"/>
                  </a:lnTo>
                  <a:lnTo>
                    <a:pt x="738" y="374"/>
                  </a:lnTo>
                  <a:lnTo>
                    <a:pt x="738" y="383"/>
                  </a:lnTo>
                  <a:lnTo>
                    <a:pt x="738" y="392"/>
                  </a:lnTo>
                  <a:lnTo>
                    <a:pt x="736" y="401"/>
                  </a:lnTo>
                  <a:lnTo>
                    <a:pt x="731" y="410"/>
                  </a:lnTo>
                  <a:lnTo>
                    <a:pt x="726" y="416"/>
                  </a:lnTo>
                  <a:lnTo>
                    <a:pt x="721" y="422"/>
                  </a:lnTo>
                  <a:lnTo>
                    <a:pt x="713" y="428"/>
                  </a:lnTo>
                  <a:lnTo>
                    <a:pt x="704" y="431"/>
                  </a:lnTo>
                  <a:lnTo>
                    <a:pt x="696" y="434"/>
                  </a:lnTo>
                  <a:close/>
                  <a:moveTo>
                    <a:pt x="763" y="383"/>
                  </a:moveTo>
                  <a:lnTo>
                    <a:pt x="762" y="372"/>
                  </a:lnTo>
                  <a:lnTo>
                    <a:pt x="760" y="362"/>
                  </a:lnTo>
                  <a:lnTo>
                    <a:pt x="757" y="353"/>
                  </a:lnTo>
                  <a:lnTo>
                    <a:pt x="753" y="343"/>
                  </a:lnTo>
                  <a:lnTo>
                    <a:pt x="746" y="334"/>
                  </a:lnTo>
                  <a:lnTo>
                    <a:pt x="740" y="327"/>
                  </a:lnTo>
                  <a:lnTo>
                    <a:pt x="731" y="320"/>
                  </a:lnTo>
                  <a:lnTo>
                    <a:pt x="723" y="315"/>
                  </a:lnTo>
                  <a:lnTo>
                    <a:pt x="729" y="306"/>
                  </a:lnTo>
                  <a:lnTo>
                    <a:pt x="733" y="298"/>
                  </a:lnTo>
                  <a:lnTo>
                    <a:pt x="738" y="288"/>
                  </a:lnTo>
                  <a:lnTo>
                    <a:pt x="740" y="279"/>
                  </a:lnTo>
                  <a:lnTo>
                    <a:pt x="740" y="268"/>
                  </a:lnTo>
                  <a:lnTo>
                    <a:pt x="740" y="258"/>
                  </a:lnTo>
                  <a:lnTo>
                    <a:pt x="738" y="247"/>
                  </a:lnTo>
                  <a:lnTo>
                    <a:pt x="734" y="238"/>
                  </a:lnTo>
                  <a:lnTo>
                    <a:pt x="730" y="228"/>
                  </a:lnTo>
                  <a:lnTo>
                    <a:pt x="724" y="219"/>
                  </a:lnTo>
                  <a:lnTo>
                    <a:pt x="717" y="212"/>
                  </a:lnTo>
                  <a:lnTo>
                    <a:pt x="709" y="204"/>
                  </a:lnTo>
                  <a:lnTo>
                    <a:pt x="700" y="199"/>
                  </a:lnTo>
                  <a:lnTo>
                    <a:pt x="692" y="195"/>
                  </a:lnTo>
                  <a:lnTo>
                    <a:pt x="681" y="193"/>
                  </a:lnTo>
                  <a:lnTo>
                    <a:pt x="671" y="190"/>
                  </a:lnTo>
                  <a:lnTo>
                    <a:pt x="673" y="181"/>
                  </a:lnTo>
                  <a:lnTo>
                    <a:pt x="674" y="170"/>
                  </a:lnTo>
                  <a:lnTo>
                    <a:pt x="673" y="159"/>
                  </a:lnTo>
                  <a:lnTo>
                    <a:pt x="672" y="150"/>
                  </a:lnTo>
                  <a:lnTo>
                    <a:pt x="669" y="139"/>
                  </a:lnTo>
                  <a:lnTo>
                    <a:pt x="665" y="129"/>
                  </a:lnTo>
                  <a:lnTo>
                    <a:pt x="658" y="121"/>
                  </a:lnTo>
                  <a:lnTo>
                    <a:pt x="652" y="113"/>
                  </a:lnTo>
                  <a:lnTo>
                    <a:pt x="646" y="108"/>
                  </a:lnTo>
                  <a:lnTo>
                    <a:pt x="640" y="104"/>
                  </a:lnTo>
                  <a:lnTo>
                    <a:pt x="634" y="100"/>
                  </a:lnTo>
                  <a:lnTo>
                    <a:pt x="627" y="97"/>
                  </a:lnTo>
                  <a:lnTo>
                    <a:pt x="620" y="94"/>
                  </a:lnTo>
                  <a:lnTo>
                    <a:pt x="612" y="93"/>
                  </a:lnTo>
                  <a:lnTo>
                    <a:pt x="605" y="92"/>
                  </a:lnTo>
                  <a:lnTo>
                    <a:pt x="597" y="92"/>
                  </a:lnTo>
                  <a:lnTo>
                    <a:pt x="586" y="92"/>
                  </a:lnTo>
                  <a:lnTo>
                    <a:pt x="575" y="94"/>
                  </a:lnTo>
                  <a:lnTo>
                    <a:pt x="573" y="84"/>
                  </a:lnTo>
                  <a:lnTo>
                    <a:pt x="570" y="75"/>
                  </a:lnTo>
                  <a:lnTo>
                    <a:pt x="566" y="65"/>
                  </a:lnTo>
                  <a:lnTo>
                    <a:pt x="561" y="56"/>
                  </a:lnTo>
                  <a:lnTo>
                    <a:pt x="554" y="48"/>
                  </a:lnTo>
                  <a:lnTo>
                    <a:pt x="547" y="41"/>
                  </a:lnTo>
                  <a:lnTo>
                    <a:pt x="537" y="35"/>
                  </a:lnTo>
                  <a:lnTo>
                    <a:pt x="527" y="31"/>
                  </a:lnTo>
                  <a:lnTo>
                    <a:pt x="518" y="27"/>
                  </a:lnTo>
                  <a:lnTo>
                    <a:pt x="507" y="25"/>
                  </a:lnTo>
                  <a:lnTo>
                    <a:pt x="497" y="25"/>
                  </a:lnTo>
                  <a:lnTo>
                    <a:pt x="486" y="26"/>
                  </a:lnTo>
                  <a:lnTo>
                    <a:pt x="477" y="28"/>
                  </a:lnTo>
                  <a:lnTo>
                    <a:pt x="467" y="32"/>
                  </a:lnTo>
                  <a:lnTo>
                    <a:pt x="457" y="36"/>
                  </a:lnTo>
                  <a:lnTo>
                    <a:pt x="450" y="41"/>
                  </a:lnTo>
                  <a:lnTo>
                    <a:pt x="444" y="33"/>
                  </a:lnTo>
                  <a:lnTo>
                    <a:pt x="437" y="25"/>
                  </a:lnTo>
                  <a:lnTo>
                    <a:pt x="430" y="18"/>
                  </a:lnTo>
                  <a:lnTo>
                    <a:pt x="422" y="12"/>
                  </a:lnTo>
                  <a:lnTo>
                    <a:pt x="412" y="7"/>
                  </a:lnTo>
                  <a:lnTo>
                    <a:pt x="403" y="4"/>
                  </a:lnTo>
                  <a:lnTo>
                    <a:pt x="392" y="2"/>
                  </a:lnTo>
                  <a:lnTo>
                    <a:pt x="381" y="0"/>
                  </a:lnTo>
                  <a:lnTo>
                    <a:pt x="371" y="2"/>
                  </a:lnTo>
                  <a:lnTo>
                    <a:pt x="361" y="4"/>
                  </a:lnTo>
                  <a:lnTo>
                    <a:pt x="351" y="7"/>
                  </a:lnTo>
                  <a:lnTo>
                    <a:pt x="342" y="12"/>
                  </a:lnTo>
                  <a:lnTo>
                    <a:pt x="333" y="18"/>
                  </a:lnTo>
                  <a:lnTo>
                    <a:pt x="325" y="25"/>
                  </a:lnTo>
                  <a:lnTo>
                    <a:pt x="319" y="33"/>
                  </a:lnTo>
                  <a:lnTo>
                    <a:pt x="314" y="41"/>
                  </a:lnTo>
                  <a:lnTo>
                    <a:pt x="305" y="36"/>
                  </a:lnTo>
                  <a:lnTo>
                    <a:pt x="296" y="32"/>
                  </a:lnTo>
                  <a:lnTo>
                    <a:pt x="287" y="28"/>
                  </a:lnTo>
                  <a:lnTo>
                    <a:pt x="276" y="26"/>
                  </a:lnTo>
                  <a:lnTo>
                    <a:pt x="266" y="25"/>
                  </a:lnTo>
                  <a:lnTo>
                    <a:pt x="256" y="25"/>
                  </a:lnTo>
                  <a:lnTo>
                    <a:pt x="246" y="27"/>
                  </a:lnTo>
                  <a:lnTo>
                    <a:pt x="235" y="31"/>
                  </a:lnTo>
                  <a:lnTo>
                    <a:pt x="226" y="35"/>
                  </a:lnTo>
                  <a:lnTo>
                    <a:pt x="217" y="41"/>
                  </a:lnTo>
                  <a:lnTo>
                    <a:pt x="209" y="48"/>
                  </a:lnTo>
                  <a:lnTo>
                    <a:pt x="203" y="55"/>
                  </a:lnTo>
                  <a:lnTo>
                    <a:pt x="198" y="64"/>
                  </a:lnTo>
                  <a:lnTo>
                    <a:pt x="193" y="73"/>
                  </a:lnTo>
                  <a:lnTo>
                    <a:pt x="190" y="83"/>
                  </a:lnTo>
                  <a:lnTo>
                    <a:pt x="188" y="94"/>
                  </a:lnTo>
                  <a:lnTo>
                    <a:pt x="177" y="92"/>
                  </a:lnTo>
                  <a:lnTo>
                    <a:pt x="165" y="92"/>
                  </a:lnTo>
                  <a:lnTo>
                    <a:pt x="158" y="92"/>
                  </a:lnTo>
                  <a:lnTo>
                    <a:pt x="150" y="93"/>
                  </a:lnTo>
                  <a:lnTo>
                    <a:pt x="144" y="94"/>
                  </a:lnTo>
                  <a:lnTo>
                    <a:pt x="136" y="97"/>
                  </a:lnTo>
                  <a:lnTo>
                    <a:pt x="130" y="100"/>
                  </a:lnTo>
                  <a:lnTo>
                    <a:pt x="124" y="104"/>
                  </a:lnTo>
                  <a:lnTo>
                    <a:pt x="117" y="108"/>
                  </a:lnTo>
                  <a:lnTo>
                    <a:pt x="112" y="113"/>
                  </a:lnTo>
                  <a:lnTo>
                    <a:pt x="104" y="121"/>
                  </a:lnTo>
                  <a:lnTo>
                    <a:pt x="99" y="129"/>
                  </a:lnTo>
                  <a:lnTo>
                    <a:pt x="95" y="139"/>
                  </a:lnTo>
                  <a:lnTo>
                    <a:pt x="91" y="150"/>
                  </a:lnTo>
                  <a:lnTo>
                    <a:pt x="89" y="159"/>
                  </a:lnTo>
                  <a:lnTo>
                    <a:pt x="89" y="170"/>
                  </a:lnTo>
                  <a:lnTo>
                    <a:pt x="90" y="181"/>
                  </a:lnTo>
                  <a:lnTo>
                    <a:pt x="92" y="190"/>
                  </a:lnTo>
                  <a:lnTo>
                    <a:pt x="82" y="193"/>
                  </a:lnTo>
                  <a:lnTo>
                    <a:pt x="72" y="195"/>
                  </a:lnTo>
                  <a:lnTo>
                    <a:pt x="62" y="199"/>
                  </a:lnTo>
                  <a:lnTo>
                    <a:pt x="54" y="204"/>
                  </a:lnTo>
                  <a:lnTo>
                    <a:pt x="46" y="212"/>
                  </a:lnTo>
                  <a:lnTo>
                    <a:pt x="40" y="219"/>
                  </a:lnTo>
                  <a:lnTo>
                    <a:pt x="33" y="228"/>
                  </a:lnTo>
                  <a:lnTo>
                    <a:pt x="29" y="238"/>
                  </a:lnTo>
                  <a:lnTo>
                    <a:pt x="26" y="247"/>
                  </a:lnTo>
                  <a:lnTo>
                    <a:pt x="24" y="258"/>
                  </a:lnTo>
                  <a:lnTo>
                    <a:pt x="23" y="268"/>
                  </a:lnTo>
                  <a:lnTo>
                    <a:pt x="24" y="279"/>
                  </a:lnTo>
                  <a:lnTo>
                    <a:pt x="26" y="288"/>
                  </a:lnTo>
                  <a:lnTo>
                    <a:pt x="29" y="298"/>
                  </a:lnTo>
                  <a:lnTo>
                    <a:pt x="34" y="306"/>
                  </a:lnTo>
                  <a:lnTo>
                    <a:pt x="41" y="315"/>
                  </a:lnTo>
                  <a:lnTo>
                    <a:pt x="31" y="320"/>
                  </a:lnTo>
                  <a:lnTo>
                    <a:pt x="24" y="327"/>
                  </a:lnTo>
                  <a:lnTo>
                    <a:pt x="17" y="334"/>
                  </a:lnTo>
                  <a:lnTo>
                    <a:pt x="11" y="343"/>
                  </a:lnTo>
                  <a:lnTo>
                    <a:pt x="7" y="353"/>
                  </a:lnTo>
                  <a:lnTo>
                    <a:pt x="2" y="362"/>
                  </a:lnTo>
                  <a:lnTo>
                    <a:pt x="0" y="372"/>
                  </a:lnTo>
                  <a:lnTo>
                    <a:pt x="0" y="383"/>
                  </a:lnTo>
                  <a:lnTo>
                    <a:pt x="0" y="393"/>
                  </a:lnTo>
                  <a:lnTo>
                    <a:pt x="2" y="404"/>
                  </a:lnTo>
                  <a:lnTo>
                    <a:pt x="7" y="414"/>
                  </a:lnTo>
                  <a:lnTo>
                    <a:pt x="11" y="422"/>
                  </a:lnTo>
                  <a:lnTo>
                    <a:pt x="17" y="431"/>
                  </a:lnTo>
                  <a:lnTo>
                    <a:pt x="24" y="439"/>
                  </a:lnTo>
                  <a:lnTo>
                    <a:pt x="31" y="446"/>
                  </a:lnTo>
                  <a:lnTo>
                    <a:pt x="41" y="451"/>
                  </a:lnTo>
                  <a:lnTo>
                    <a:pt x="34" y="460"/>
                  </a:lnTo>
                  <a:lnTo>
                    <a:pt x="29" y="469"/>
                  </a:lnTo>
                  <a:lnTo>
                    <a:pt x="26" y="478"/>
                  </a:lnTo>
                  <a:lnTo>
                    <a:pt x="24" y="489"/>
                  </a:lnTo>
                  <a:lnTo>
                    <a:pt x="23" y="499"/>
                  </a:lnTo>
                  <a:lnTo>
                    <a:pt x="24" y="508"/>
                  </a:lnTo>
                  <a:lnTo>
                    <a:pt x="26" y="519"/>
                  </a:lnTo>
                  <a:lnTo>
                    <a:pt x="29" y="529"/>
                  </a:lnTo>
                  <a:lnTo>
                    <a:pt x="33" y="538"/>
                  </a:lnTo>
                  <a:lnTo>
                    <a:pt x="40" y="547"/>
                  </a:lnTo>
                  <a:lnTo>
                    <a:pt x="46" y="556"/>
                  </a:lnTo>
                  <a:lnTo>
                    <a:pt x="54" y="562"/>
                  </a:lnTo>
                  <a:lnTo>
                    <a:pt x="62" y="567"/>
                  </a:lnTo>
                  <a:lnTo>
                    <a:pt x="72" y="572"/>
                  </a:lnTo>
                  <a:lnTo>
                    <a:pt x="82" y="575"/>
                  </a:lnTo>
                  <a:lnTo>
                    <a:pt x="92" y="576"/>
                  </a:lnTo>
                  <a:lnTo>
                    <a:pt x="90" y="587"/>
                  </a:lnTo>
                  <a:lnTo>
                    <a:pt x="89" y="596"/>
                  </a:lnTo>
                  <a:lnTo>
                    <a:pt x="89" y="607"/>
                  </a:lnTo>
                  <a:lnTo>
                    <a:pt x="91" y="617"/>
                  </a:lnTo>
                  <a:lnTo>
                    <a:pt x="95" y="626"/>
                  </a:lnTo>
                  <a:lnTo>
                    <a:pt x="99" y="636"/>
                  </a:lnTo>
                  <a:lnTo>
                    <a:pt x="104" y="646"/>
                  </a:lnTo>
                  <a:lnTo>
                    <a:pt x="112" y="654"/>
                  </a:lnTo>
                  <a:lnTo>
                    <a:pt x="117" y="659"/>
                  </a:lnTo>
                  <a:lnTo>
                    <a:pt x="124" y="663"/>
                  </a:lnTo>
                  <a:lnTo>
                    <a:pt x="130" y="667"/>
                  </a:lnTo>
                  <a:lnTo>
                    <a:pt x="136" y="670"/>
                  </a:lnTo>
                  <a:lnTo>
                    <a:pt x="144" y="673"/>
                  </a:lnTo>
                  <a:lnTo>
                    <a:pt x="150" y="675"/>
                  </a:lnTo>
                  <a:lnTo>
                    <a:pt x="158" y="676"/>
                  </a:lnTo>
                  <a:lnTo>
                    <a:pt x="165" y="676"/>
                  </a:lnTo>
                  <a:lnTo>
                    <a:pt x="177" y="675"/>
                  </a:lnTo>
                  <a:lnTo>
                    <a:pt x="188" y="673"/>
                  </a:lnTo>
                  <a:lnTo>
                    <a:pt x="190" y="683"/>
                  </a:lnTo>
                  <a:lnTo>
                    <a:pt x="193" y="693"/>
                  </a:lnTo>
                  <a:lnTo>
                    <a:pt x="198" y="702"/>
                  </a:lnTo>
                  <a:lnTo>
                    <a:pt x="203" y="710"/>
                  </a:lnTo>
                  <a:lnTo>
                    <a:pt x="209" y="719"/>
                  </a:lnTo>
                  <a:lnTo>
                    <a:pt x="217" y="725"/>
                  </a:lnTo>
                  <a:lnTo>
                    <a:pt x="226" y="732"/>
                  </a:lnTo>
                  <a:lnTo>
                    <a:pt x="235" y="737"/>
                  </a:lnTo>
                  <a:lnTo>
                    <a:pt x="246" y="740"/>
                  </a:lnTo>
                  <a:lnTo>
                    <a:pt x="256" y="741"/>
                  </a:lnTo>
                  <a:lnTo>
                    <a:pt x="266" y="742"/>
                  </a:lnTo>
                  <a:lnTo>
                    <a:pt x="277" y="741"/>
                  </a:lnTo>
                  <a:lnTo>
                    <a:pt x="287" y="738"/>
                  </a:lnTo>
                  <a:lnTo>
                    <a:pt x="296" y="735"/>
                  </a:lnTo>
                  <a:lnTo>
                    <a:pt x="305" y="731"/>
                  </a:lnTo>
                  <a:lnTo>
                    <a:pt x="314" y="724"/>
                  </a:lnTo>
                  <a:lnTo>
                    <a:pt x="319" y="733"/>
                  </a:lnTo>
                  <a:lnTo>
                    <a:pt x="325" y="741"/>
                  </a:lnTo>
                  <a:lnTo>
                    <a:pt x="333" y="748"/>
                  </a:lnTo>
                  <a:lnTo>
                    <a:pt x="342" y="754"/>
                  </a:lnTo>
                  <a:lnTo>
                    <a:pt x="351" y="759"/>
                  </a:lnTo>
                  <a:lnTo>
                    <a:pt x="361" y="762"/>
                  </a:lnTo>
                  <a:lnTo>
                    <a:pt x="371" y="764"/>
                  </a:lnTo>
                  <a:lnTo>
                    <a:pt x="381" y="765"/>
                  </a:lnTo>
                  <a:lnTo>
                    <a:pt x="392" y="764"/>
                  </a:lnTo>
                  <a:lnTo>
                    <a:pt x="403" y="762"/>
                  </a:lnTo>
                  <a:lnTo>
                    <a:pt x="412" y="759"/>
                  </a:lnTo>
                  <a:lnTo>
                    <a:pt x="422" y="754"/>
                  </a:lnTo>
                  <a:lnTo>
                    <a:pt x="430" y="748"/>
                  </a:lnTo>
                  <a:lnTo>
                    <a:pt x="437" y="741"/>
                  </a:lnTo>
                  <a:lnTo>
                    <a:pt x="444" y="733"/>
                  </a:lnTo>
                  <a:lnTo>
                    <a:pt x="450" y="724"/>
                  </a:lnTo>
                  <a:lnTo>
                    <a:pt x="457" y="731"/>
                  </a:lnTo>
                  <a:lnTo>
                    <a:pt x="467" y="735"/>
                  </a:lnTo>
                  <a:lnTo>
                    <a:pt x="477" y="738"/>
                  </a:lnTo>
                  <a:lnTo>
                    <a:pt x="486" y="741"/>
                  </a:lnTo>
                  <a:lnTo>
                    <a:pt x="497" y="742"/>
                  </a:lnTo>
                  <a:lnTo>
                    <a:pt x="508" y="741"/>
                  </a:lnTo>
                  <a:lnTo>
                    <a:pt x="518" y="740"/>
                  </a:lnTo>
                  <a:lnTo>
                    <a:pt x="528" y="737"/>
                  </a:lnTo>
                  <a:lnTo>
                    <a:pt x="537" y="732"/>
                  </a:lnTo>
                  <a:lnTo>
                    <a:pt x="547" y="725"/>
                  </a:lnTo>
                  <a:lnTo>
                    <a:pt x="554" y="719"/>
                  </a:lnTo>
                  <a:lnTo>
                    <a:pt x="561" y="710"/>
                  </a:lnTo>
                  <a:lnTo>
                    <a:pt x="566" y="702"/>
                  </a:lnTo>
                  <a:lnTo>
                    <a:pt x="570" y="693"/>
                  </a:lnTo>
                  <a:lnTo>
                    <a:pt x="573" y="683"/>
                  </a:lnTo>
                  <a:lnTo>
                    <a:pt x="575" y="673"/>
                  </a:lnTo>
                  <a:lnTo>
                    <a:pt x="586" y="675"/>
                  </a:lnTo>
                  <a:lnTo>
                    <a:pt x="597" y="676"/>
                  </a:lnTo>
                  <a:lnTo>
                    <a:pt x="605" y="676"/>
                  </a:lnTo>
                  <a:lnTo>
                    <a:pt x="612" y="675"/>
                  </a:lnTo>
                  <a:lnTo>
                    <a:pt x="620" y="673"/>
                  </a:lnTo>
                  <a:lnTo>
                    <a:pt x="627" y="670"/>
                  </a:lnTo>
                  <a:lnTo>
                    <a:pt x="634" y="667"/>
                  </a:lnTo>
                  <a:lnTo>
                    <a:pt x="640" y="663"/>
                  </a:lnTo>
                  <a:lnTo>
                    <a:pt x="646" y="659"/>
                  </a:lnTo>
                  <a:lnTo>
                    <a:pt x="652" y="654"/>
                  </a:lnTo>
                  <a:lnTo>
                    <a:pt x="658" y="646"/>
                  </a:lnTo>
                  <a:lnTo>
                    <a:pt x="665" y="636"/>
                  </a:lnTo>
                  <a:lnTo>
                    <a:pt x="669" y="626"/>
                  </a:lnTo>
                  <a:lnTo>
                    <a:pt x="672" y="617"/>
                  </a:lnTo>
                  <a:lnTo>
                    <a:pt x="673" y="607"/>
                  </a:lnTo>
                  <a:lnTo>
                    <a:pt x="674" y="596"/>
                  </a:lnTo>
                  <a:lnTo>
                    <a:pt x="673" y="587"/>
                  </a:lnTo>
                  <a:lnTo>
                    <a:pt x="671" y="576"/>
                  </a:lnTo>
                  <a:lnTo>
                    <a:pt x="681" y="575"/>
                  </a:lnTo>
                  <a:lnTo>
                    <a:pt x="692" y="572"/>
                  </a:lnTo>
                  <a:lnTo>
                    <a:pt x="700" y="567"/>
                  </a:lnTo>
                  <a:lnTo>
                    <a:pt x="709" y="562"/>
                  </a:lnTo>
                  <a:lnTo>
                    <a:pt x="717" y="556"/>
                  </a:lnTo>
                  <a:lnTo>
                    <a:pt x="724" y="547"/>
                  </a:lnTo>
                  <a:lnTo>
                    <a:pt x="730" y="538"/>
                  </a:lnTo>
                  <a:lnTo>
                    <a:pt x="734" y="529"/>
                  </a:lnTo>
                  <a:lnTo>
                    <a:pt x="738" y="519"/>
                  </a:lnTo>
                  <a:lnTo>
                    <a:pt x="740" y="508"/>
                  </a:lnTo>
                  <a:lnTo>
                    <a:pt x="741" y="499"/>
                  </a:lnTo>
                  <a:lnTo>
                    <a:pt x="740" y="489"/>
                  </a:lnTo>
                  <a:lnTo>
                    <a:pt x="738" y="478"/>
                  </a:lnTo>
                  <a:lnTo>
                    <a:pt x="733" y="469"/>
                  </a:lnTo>
                  <a:lnTo>
                    <a:pt x="729" y="460"/>
                  </a:lnTo>
                  <a:lnTo>
                    <a:pt x="723" y="451"/>
                  </a:lnTo>
                  <a:lnTo>
                    <a:pt x="731" y="446"/>
                  </a:lnTo>
                  <a:lnTo>
                    <a:pt x="740" y="439"/>
                  </a:lnTo>
                  <a:lnTo>
                    <a:pt x="746" y="431"/>
                  </a:lnTo>
                  <a:lnTo>
                    <a:pt x="753" y="422"/>
                  </a:lnTo>
                  <a:lnTo>
                    <a:pt x="757" y="414"/>
                  </a:lnTo>
                  <a:lnTo>
                    <a:pt x="760" y="404"/>
                  </a:lnTo>
                  <a:lnTo>
                    <a:pt x="762" y="393"/>
                  </a:lnTo>
                  <a:lnTo>
                    <a:pt x="763" y="38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58" name="Freeform 22"/>
            <p:cNvSpPr>
              <a:spLocks/>
            </p:cNvSpPr>
            <p:nvPr/>
          </p:nvSpPr>
          <p:spPr bwMode="auto">
            <a:xfrm>
              <a:off x="3998961" y="1891338"/>
              <a:ext cx="230112" cy="230112"/>
            </a:xfrm>
            <a:custGeom>
              <a:avLst/>
              <a:gdLst>
                <a:gd name="T0" fmla="*/ 310 w 314"/>
                <a:gd name="T1" fmla="*/ 4 h 315"/>
                <a:gd name="T2" fmla="*/ 305 w 314"/>
                <a:gd name="T3" fmla="*/ 1 h 315"/>
                <a:gd name="T4" fmla="*/ 301 w 314"/>
                <a:gd name="T5" fmla="*/ 0 h 315"/>
                <a:gd name="T6" fmla="*/ 296 w 314"/>
                <a:gd name="T7" fmla="*/ 1 h 315"/>
                <a:gd name="T8" fmla="*/ 293 w 314"/>
                <a:gd name="T9" fmla="*/ 4 h 315"/>
                <a:gd name="T10" fmla="*/ 156 w 314"/>
                <a:gd name="T11" fmla="*/ 138 h 315"/>
                <a:gd name="T12" fmla="*/ 21 w 314"/>
                <a:gd name="T13" fmla="*/ 4 h 315"/>
                <a:gd name="T14" fmla="*/ 17 w 314"/>
                <a:gd name="T15" fmla="*/ 1 h 315"/>
                <a:gd name="T16" fmla="*/ 12 w 314"/>
                <a:gd name="T17" fmla="*/ 0 h 315"/>
                <a:gd name="T18" fmla="*/ 7 w 314"/>
                <a:gd name="T19" fmla="*/ 1 h 315"/>
                <a:gd name="T20" fmla="*/ 3 w 314"/>
                <a:gd name="T21" fmla="*/ 4 h 315"/>
                <a:gd name="T22" fmla="*/ 1 w 314"/>
                <a:gd name="T23" fmla="*/ 9 h 315"/>
                <a:gd name="T24" fmla="*/ 0 w 314"/>
                <a:gd name="T25" fmla="*/ 13 h 315"/>
                <a:gd name="T26" fmla="*/ 1 w 314"/>
                <a:gd name="T27" fmla="*/ 17 h 315"/>
                <a:gd name="T28" fmla="*/ 3 w 314"/>
                <a:gd name="T29" fmla="*/ 21 h 315"/>
                <a:gd name="T30" fmla="*/ 139 w 314"/>
                <a:gd name="T31" fmla="*/ 157 h 315"/>
                <a:gd name="T32" fmla="*/ 3 w 314"/>
                <a:gd name="T33" fmla="*/ 293 h 315"/>
                <a:gd name="T34" fmla="*/ 1 w 314"/>
                <a:gd name="T35" fmla="*/ 297 h 315"/>
                <a:gd name="T36" fmla="*/ 0 w 314"/>
                <a:gd name="T37" fmla="*/ 302 h 315"/>
                <a:gd name="T38" fmla="*/ 1 w 314"/>
                <a:gd name="T39" fmla="*/ 307 h 315"/>
                <a:gd name="T40" fmla="*/ 3 w 314"/>
                <a:gd name="T41" fmla="*/ 311 h 315"/>
                <a:gd name="T42" fmla="*/ 7 w 314"/>
                <a:gd name="T43" fmla="*/ 313 h 315"/>
                <a:gd name="T44" fmla="*/ 12 w 314"/>
                <a:gd name="T45" fmla="*/ 315 h 315"/>
                <a:gd name="T46" fmla="*/ 17 w 314"/>
                <a:gd name="T47" fmla="*/ 313 h 315"/>
                <a:gd name="T48" fmla="*/ 21 w 314"/>
                <a:gd name="T49" fmla="*/ 311 h 315"/>
                <a:gd name="T50" fmla="*/ 156 w 314"/>
                <a:gd name="T51" fmla="*/ 176 h 315"/>
                <a:gd name="T52" fmla="*/ 293 w 314"/>
                <a:gd name="T53" fmla="*/ 311 h 315"/>
                <a:gd name="T54" fmla="*/ 296 w 314"/>
                <a:gd name="T55" fmla="*/ 313 h 315"/>
                <a:gd name="T56" fmla="*/ 301 w 314"/>
                <a:gd name="T57" fmla="*/ 315 h 315"/>
                <a:gd name="T58" fmla="*/ 305 w 314"/>
                <a:gd name="T59" fmla="*/ 313 h 315"/>
                <a:gd name="T60" fmla="*/ 310 w 314"/>
                <a:gd name="T61" fmla="*/ 311 h 315"/>
                <a:gd name="T62" fmla="*/ 313 w 314"/>
                <a:gd name="T63" fmla="*/ 307 h 315"/>
                <a:gd name="T64" fmla="*/ 314 w 314"/>
                <a:gd name="T65" fmla="*/ 302 h 315"/>
                <a:gd name="T66" fmla="*/ 313 w 314"/>
                <a:gd name="T67" fmla="*/ 297 h 315"/>
                <a:gd name="T68" fmla="*/ 310 w 314"/>
                <a:gd name="T69" fmla="*/ 293 h 315"/>
                <a:gd name="T70" fmla="*/ 175 w 314"/>
                <a:gd name="T71" fmla="*/ 157 h 315"/>
                <a:gd name="T72" fmla="*/ 310 w 314"/>
                <a:gd name="T73" fmla="*/ 21 h 315"/>
                <a:gd name="T74" fmla="*/ 313 w 314"/>
                <a:gd name="T75" fmla="*/ 17 h 315"/>
                <a:gd name="T76" fmla="*/ 314 w 314"/>
                <a:gd name="T77" fmla="*/ 13 h 315"/>
                <a:gd name="T78" fmla="*/ 313 w 314"/>
                <a:gd name="T79" fmla="*/ 9 h 315"/>
                <a:gd name="T80" fmla="*/ 310 w 314"/>
                <a:gd name="T81" fmla="*/ 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4" h="315">
                  <a:moveTo>
                    <a:pt x="310" y="4"/>
                  </a:moveTo>
                  <a:lnTo>
                    <a:pt x="305" y="1"/>
                  </a:lnTo>
                  <a:lnTo>
                    <a:pt x="301" y="0"/>
                  </a:lnTo>
                  <a:lnTo>
                    <a:pt x="296" y="1"/>
                  </a:lnTo>
                  <a:lnTo>
                    <a:pt x="293" y="4"/>
                  </a:lnTo>
                  <a:lnTo>
                    <a:pt x="156" y="138"/>
                  </a:lnTo>
                  <a:lnTo>
                    <a:pt x="21" y="4"/>
                  </a:lnTo>
                  <a:lnTo>
                    <a:pt x="17" y="1"/>
                  </a:lnTo>
                  <a:lnTo>
                    <a:pt x="12" y="0"/>
                  </a:lnTo>
                  <a:lnTo>
                    <a:pt x="7" y="1"/>
                  </a:lnTo>
                  <a:lnTo>
                    <a:pt x="3" y="4"/>
                  </a:lnTo>
                  <a:lnTo>
                    <a:pt x="1" y="9"/>
                  </a:lnTo>
                  <a:lnTo>
                    <a:pt x="0" y="13"/>
                  </a:lnTo>
                  <a:lnTo>
                    <a:pt x="1" y="17"/>
                  </a:lnTo>
                  <a:lnTo>
                    <a:pt x="3" y="21"/>
                  </a:lnTo>
                  <a:lnTo>
                    <a:pt x="139" y="157"/>
                  </a:lnTo>
                  <a:lnTo>
                    <a:pt x="3" y="293"/>
                  </a:lnTo>
                  <a:lnTo>
                    <a:pt x="1" y="297"/>
                  </a:lnTo>
                  <a:lnTo>
                    <a:pt x="0" y="302"/>
                  </a:lnTo>
                  <a:lnTo>
                    <a:pt x="1" y="307"/>
                  </a:lnTo>
                  <a:lnTo>
                    <a:pt x="3" y="311"/>
                  </a:lnTo>
                  <a:lnTo>
                    <a:pt x="7" y="313"/>
                  </a:lnTo>
                  <a:lnTo>
                    <a:pt x="12" y="315"/>
                  </a:lnTo>
                  <a:lnTo>
                    <a:pt x="17" y="313"/>
                  </a:lnTo>
                  <a:lnTo>
                    <a:pt x="21" y="311"/>
                  </a:lnTo>
                  <a:lnTo>
                    <a:pt x="156" y="176"/>
                  </a:lnTo>
                  <a:lnTo>
                    <a:pt x="293" y="311"/>
                  </a:lnTo>
                  <a:lnTo>
                    <a:pt x="296" y="313"/>
                  </a:lnTo>
                  <a:lnTo>
                    <a:pt x="301" y="315"/>
                  </a:lnTo>
                  <a:lnTo>
                    <a:pt x="305" y="313"/>
                  </a:lnTo>
                  <a:lnTo>
                    <a:pt x="310" y="311"/>
                  </a:lnTo>
                  <a:lnTo>
                    <a:pt x="313" y="307"/>
                  </a:lnTo>
                  <a:lnTo>
                    <a:pt x="314" y="302"/>
                  </a:lnTo>
                  <a:lnTo>
                    <a:pt x="313" y="297"/>
                  </a:lnTo>
                  <a:lnTo>
                    <a:pt x="310" y="293"/>
                  </a:lnTo>
                  <a:lnTo>
                    <a:pt x="175" y="157"/>
                  </a:lnTo>
                  <a:lnTo>
                    <a:pt x="310" y="21"/>
                  </a:lnTo>
                  <a:lnTo>
                    <a:pt x="313" y="17"/>
                  </a:lnTo>
                  <a:lnTo>
                    <a:pt x="314" y="13"/>
                  </a:lnTo>
                  <a:lnTo>
                    <a:pt x="313" y="9"/>
                  </a:lnTo>
                  <a:lnTo>
                    <a:pt x="310" y="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800"/>
            </a:p>
          </p:txBody>
        </p:sp>
      </p:grpSp>
      <p:sp>
        <p:nvSpPr>
          <p:cNvPr id="53" name="Rectangle 52"/>
          <p:cNvSpPr/>
          <p:nvPr userDrawn="1"/>
        </p:nvSpPr>
        <p:spPr>
          <a:xfrm>
            <a:off x="5450547" y="4913952"/>
            <a:ext cx="6466302" cy="1695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54" name="Group 53"/>
          <p:cNvGrpSpPr/>
          <p:nvPr userDrawn="1"/>
        </p:nvGrpSpPr>
        <p:grpSpPr>
          <a:xfrm>
            <a:off x="5695187" y="4759603"/>
            <a:ext cx="1408590" cy="312073"/>
            <a:chOff x="5649435" y="2139013"/>
            <a:chExt cx="1408590" cy="312073"/>
          </a:xfrm>
        </p:grpSpPr>
        <p:sp>
          <p:nvSpPr>
            <p:cNvPr id="55" name="TextBox 54"/>
            <p:cNvSpPr txBox="1"/>
            <p:nvPr/>
          </p:nvSpPr>
          <p:spPr>
            <a:xfrm>
              <a:off x="5649435" y="2139013"/>
              <a:ext cx="140859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Customers</a:t>
              </a:r>
            </a:p>
          </p:txBody>
        </p:sp>
        <p:grpSp>
          <p:nvGrpSpPr>
            <p:cNvPr id="59" name="Group 58"/>
            <p:cNvGrpSpPr/>
            <p:nvPr/>
          </p:nvGrpSpPr>
          <p:grpSpPr>
            <a:xfrm>
              <a:off x="5716056" y="2170849"/>
              <a:ext cx="181841" cy="236157"/>
              <a:chOff x="7643813" y="2505076"/>
              <a:chExt cx="200025" cy="285750"/>
            </a:xfrm>
            <a:solidFill>
              <a:srgbClr val="4472C4"/>
            </a:solidFill>
          </p:grpSpPr>
          <p:sp>
            <p:nvSpPr>
              <p:cNvPr id="60"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65" name="Group 64"/>
          <p:cNvGrpSpPr/>
          <p:nvPr userDrawn="1"/>
        </p:nvGrpSpPr>
        <p:grpSpPr>
          <a:xfrm>
            <a:off x="8048173" y="4755627"/>
            <a:ext cx="1400140" cy="312073"/>
            <a:chOff x="5657885" y="2139013"/>
            <a:chExt cx="1400140" cy="312073"/>
          </a:xfrm>
        </p:grpSpPr>
        <p:sp>
          <p:nvSpPr>
            <p:cNvPr id="66" name="TextBox 65"/>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Tools</a:t>
              </a:r>
            </a:p>
          </p:txBody>
        </p:sp>
        <p:grpSp>
          <p:nvGrpSpPr>
            <p:cNvPr id="67" name="Group 66"/>
            <p:cNvGrpSpPr/>
            <p:nvPr/>
          </p:nvGrpSpPr>
          <p:grpSpPr>
            <a:xfrm>
              <a:off x="5716056" y="2170849"/>
              <a:ext cx="181841" cy="236157"/>
              <a:chOff x="7643813" y="2505076"/>
              <a:chExt cx="200025" cy="285750"/>
            </a:xfrm>
            <a:solidFill>
              <a:srgbClr val="4472C4"/>
            </a:solidFill>
          </p:grpSpPr>
          <p:sp>
            <p:nvSpPr>
              <p:cNvPr id="68"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69"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0"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1"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2"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grpSp>
        <p:nvGrpSpPr>
          <p:cNvPr id="73" name="Group 72"/>
          <p:cNvGrpSpPr/>
          <p:nvPr userDrawn="1"/>
        </p:nvGrpSpPr>
        <p:grpSpPr>
          <a:xfrm>
            <a:off x="10189030" y="4751652"/>
            <a:ext cx="1400140" cy="312073"/>
            <a:chOff x="5657885" y="2139013"/>
            <a:chExt cx="1400140" cy="312073"/>
          </a:xfrm>
        </p:grpSpPr>
        <p:sp>
          <p:nvSpPr>
            <p:cNvPr id="74" name="TextBox 73"/>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Integrators</a:t>
              </a:r>
            </a:p>
          </p:txBody>
        </p:sp>
        <p:grpSp>
          <p:nvGrpSpPr>
            <p:cNvPr id="75" name="Group 74"/>
            <p:cNvGrpSpPr/>
            <p:nvPr/>
          </p:nvGrpSpPr>
          <p:grpSpPr>
            <a:xfrm>
              <a:off x="5716056" y="2170849"/>
              <a:ext cx="181841" cy="236157"/>
              <a:chOff x="7643813" y="2505076"/>
              <a:chExt cx="200025" cy="285750"/>
            </a:xfrm>
            <a:solidFill>
              <a:srgbClr val="4472C4"/>
            </a:solidFill>
          </p:grpSpPr>
          <p:sp>
            <p:nvSpPr>
              <p:cNvPr id="76"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7"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8"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9"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80"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cxnSp>
        <p:nvCxnSpPr>
          <p:cNvPr id="4" name="Straight Connector 3"/>
          <p:cNvCxnSpPr/>
          <p:nvPr userDrawn="1"/>
        </p:nvCxnSpPr>
        <p:spPr>
          <a:xfrm>
            <a:off x="7460343" y="4909516"/>
            <a:ext cx="0" cy="1699573"/>
          </a:xfrm>
          <a:prstGeom prst="line">
            <a:avLst/>
          </a:prstGeom>
        </p:spPr>
        <p:style>
          <a:lnRef idx="2">
            <a:schemeClr val="accent3"/>
          </a:lnRef>
          <a:fillRef idx="0">
            <a:schemeClr val="accent3"/>
          </a:fillRef>
          <a:effectRef idx="1">
            <a:schemeClr val="accent3"/>
          </a:effectRef>
          <a:fontRef idx="minor">
            <a:schemeClr val="tx1"/>
          </a:fontRef>
        </p:style>
      </p:cxnSp>
      <p:cxnSp>
        <p:nvCxnSpPr>
          <p:cNvPr id="81" name="Straight Connector 80"/>
          <p:cNvCxnSpPr/>
          <p:nvPr userDrawn="1"/>
        </p:nvCxnSpPr>
        <p:spPr>
          <a:xfrm flipH="1">
            <a:off x="9927772" y="4901566"/>
            <a:ext cx="8165" cy="1707522"/>
          </a:xfrm>
          <a:prstGeom prst="line">
            <a:avLst/>
          </a:prstGeom>
        </p:spPr>
        <p:style>
          <a:lnRef idx="2">
            <a:schemeClr val="accent3"/>
          </a:lnRef>
          <a:fillRef idx="0">
            <a:schemeClr val="accent3"/>
          </a:fillRef>
          <a:effectRef idx="1">
            <a:schemeClr val="accent3"/>
          </a:effectRef>
          <a:fontRef idx="minor">
            <a:schemeClr val="tx1"/>
          </a:fontRef>
        </p:style>
      </p:cxnSp>
      <p:sp>
        <p:nvSpPr>
          <p:cNvPr id="89" name="Text Placeholder 390"/>
          <p:cNvSpPr>
            <a:spLocks noGrp="1"/>
          </p:cNvSpPr>
          <p:nvPr>
            <p:ph type="body" sz="quarter" idx="17"/>
          </p:nvPr>
        </p:nvSpPr>
        <p:spPr>
          <a:xfrm>
            <a:off x="205273" y="5163675"/>
            <a:ext cx="5130071"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1" name="Text Placeholder 390"/>
          <p:cNvSpPr>
            <a:spLocks noGrp="1"/>
          </p:cNvSpPr>
          <p:nvPr>
            <p:ph type="body" sz="quarter" idx="19"/>
          </p:nvPr>
        </p:nvSpPr>
        <p:spPr>
          <a:xfrm>
            <a:off x="7460343" y="5008414"/>
            <a:ext cx="2467428"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3" name="Text Placeholder 390"/>
          <p:cNvSpPr>
            <a:spLocks noGrp="1"/>
          </p:cNvSpPr>
          <p:nvPr>
            <p:ph type="body" sz="quarter" idx="20"/>
          </p:nvPr>
        </p:nvSpPr>
        <p:spPr>
          <a:xfrm>
            <a:off x="9935936" y="5005020"/>
            <a:ext cx="1979804"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6" name="Text Placeholder 390"/>
          <p:cNvSpPr>
            <a:spLocks noGrp="1"/>
          </p:cNvSpPr>
          <p:nvPr>
            <p:ph type="body" sz="quarter" idx="21"/>
          </p:nvPr>
        </p:nvSpPr>
        <p:spPr>
          <a:xfrm>
            <a:off x="5442381" y="5005020"/>
            <a:ext cx="2009797"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17" name="Text Placeholder 16"/>
          <p:cNvSpPr>
            <a:spLocks noGrp="1"/>
          </p:cNvSpPr>
          <p:nvPr>
            <p:ph type="body" sz="quarter" idx="22"/>
          </p:nvPr>
        </p:nvSpPr>
        <p:spPr>
          <a:xfrm>
            <a:off x="5450547" y="3228828"/>
            <a:ext cx="6465194" cy="330090"/>
          </a:xfrm>
          <a:prstGeom prst="rect">
            <a:avLst/>
          </a:prstGeom>
        </p:spPr>
        <p:txBody>
          <a:bodyPr/>
          <a:lstStyle>
            <a:lvl1pPr marL="0" indent="0">
              <a:buFontTx/>
              <a:buNone/>
              <a:defRPr sz="1050">
                <a:latin typeface="Segoe UI" panose="020B0502040204020203" pitchFamily="34" charset="0"/>
                <a:cs typeface="Segoe UI" panose="020B0502040204020203" pitchFamily="34" charset="0"/>
              </a:defRPr>
            </a:lvl1pPr>
            <a:lvl2pPr marL="457112" indent="0">
              <a:buFontTx/>
              <a:buNone/>
              <a:defRPr/>
            </a:lvl2pPr>
            <a:lvl3pPr marL="914225" indent="0">
              <a:buFontTx/>
              <a:buNone/>
              <a:defRPr/>
            </a:lvl3pPr>
            <a:lvl4pPr marL="1371337" indent="0">
              <a:buFontTx/>
              <a:buNone/>
              <a:defRPr/>
            </a:lvl4pPr>
            <a:lvl5pPr marL="1828449" indent="0">
              <a:buFontTx/>
              <a:buNone/>
              <a:defRPr/>
            </a:lvl5pPr>
          </a:lstStyle>
          <a:p>
            <a:pPr lvl="0"/>
            <a:endParaRPr lang="en-NZ"/>
          </a:p>
        </p:txBody>
      </p:sp>
    </p:spTree>
    <p:extLst>
      <p:ext uri="{BB962C8B-B14F-4D97-AF65-F5344CB8AC3E}">
        <p14:creationId xmlns:p14="http://schemas.microsoft.com/office/powerpoint/2010/main" val="2746432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Overview Competitor">
    <p:spTree>
      <p:nvGrpSpPr>
        <p:cNvPr id="1" name=""/>
        <p:cNvGrpSpPr/>
        <p:nvPr/>
      </p:nvGrpSpPr>
      <p:grpSpPr>
        <a:xfrm>
          <a:off x="0" y="0"/>
          <a:ext cx="0" cy="0"/>
          <a:chOff x="0" y="0"/>
          <a:chExt cx="0" cy="0"/>
        </a:xfrm>
      </p:grpSpPr>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Tree>
    <p:extLst>
      <p:ext uri="{BB962C8B-B14F-4D97-AF65-F5344CB8AC3E}">
        <p14:creationId xmlns:p14="http://schemas.microsoft.com/office/powerpoint/2010/main" val="20638467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52305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9959" r="12830" b="6475"/>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6879">
                      <a:srgbClr val="353535"/>
                    </a:gs>
                    <a:gs pos="47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6879">
                      <a:srgbClr val="353535"/>
                    </a:gs>
                    <a:gs pos="47000">
                      <a:srgbClr val="353535"/>
                    </a:gs>
                  </a:gsLst>
                  <a:lin ang="5400000" scaled="0"/>
                </a:gradFill>
                <a:latin typeface="+mn-lt"/>
              </a:defRPr>
            </a:lvl1pPr>
          </a:lstStyle>
          <a:p>
            <a:pPr lvl="0"/>
            <a:r>
              <a:rPr lang="en-US"/>
              <a:t>Speaker name</a:t>
            </a:r>
          </a:p>
        </p:txBody>
      </p:sp>
      <p:pic>
        <p:nvPicPr>
          <p:cNvPr id="17" name="Picture 1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154089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37055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Picture 5"/>
          <p:cNvPicPr>
            <a:picLocks noChangeAspect="1"/>
          </p:cNvPicPr>
          <p:nvPr userDrawn="1"/>
        </p:nvPicPr>
        <p:blipFill rotWithShape="1">
          <a:blip r:embed="rId2"/>
          <a:srcRect l="38129" t="19959" r="12830" b="6475"/>
          <a:stretch/>
        </p:blipFill>
        <p:spPr>
          <a:xfrm>
            <a:off x="5332107" y="0"/>
            <a:ext cx="6858163" cy="6858000"/>
          </a:xfrm>
          <a:prstGeom prst="rect">
            <a:avLst/>
          </a:prstGeom>
        </p:spPr>
      </p:pic>
      <p:pic>
        <p:nvPicPr>
          <p:cNvPr id="7" name="Picture 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468244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7009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4951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2180170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154547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6494870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0169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56274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56621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86289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705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9545936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4285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7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1317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6482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988570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89510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153794138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6303917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13405372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3003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210882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1102752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71E3F13-2DB3-405F-9293-2FD3D3D8001C}" type="datetimeFigureOut">
              <a:rPr lang="en-US" smtClean="0"/>
              <a:t>11/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8572137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11/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97476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1E3F13-2DB3-405F-9293-2FD3D3D8001C}" type="datetimeFigureOut">
              <a:rPr lang="en-US" smtClean="0"/>
              <a:t>11/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9028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660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71E3F13-2DB3-405F-9293-2FD3D3D8001C}" type="datetimeFigureOut">
              <a:rPr lang="en-US" smtClean="0"/>
              <a:t>11/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92010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1E3F13-2DB3-405F-9293-2FD3D3D8001C}" type="datetimeFigureOut">
              <a:rPr lang="en-US" smtClean="0"/>
              <a:t>11/1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787197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71E3F13-2DB3-405F-9293-2FD3D3D8001C}" type="datetimeFigureOut">
              <a:rPr lang="en-US" smtClean="0"/>
              <a:t>11/1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7454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1E3F13-2DB3-405F-9293-2FD3D3D8001C}" type="datetimeFigureOut">
              <a:rPr lang="en-US" smtClean="0"/>
              <a:t>11/1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55731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11/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650604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11/1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7226969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58891" y="206099"/>
            <a:ext cx="10515600" cy="1325563"/>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11/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427540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11/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06138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idx="1"/>
          </p:nvPr>
        </p:nvSpPr>
        <p:spPr>
          <a:xfrm>
            <a:off x="610309" y="1816101"/>
            <a:ext cx="7252752"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2" name="Text Placeholder 2"/>
          <p:cNvSpPr>
            <a:spLocks noGrp="1"/>
          </p:cNvSpPr>
          <p:nvPr>
            <p:ph type="body" idx="10"/>
          </p:nvPr>
        </p:nvSpPr>
        <p:spPr>
          <a:xfrm>
            <a:off x="612773" y="1134599"/>
            <a:ext cx="10969627" cy="536519"/>
          </a:xfrm>
        </p:spPr>
        <p:txBody>
          <a:bodyPr anchor="t">
            <a:noAutofit/>
          </a:bodyPr>
          <a:lstStyle>
            <a:lvl1pPr marL="0" indent="0">
              <a:buNone/>
              <a:defRPr sz="1500" b="0"/>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153" name="Content Placeholder 2"/>
          <p:cNvSpPr>
            <a:spLocks noGrp="1"/>
          </p:cNvSpPr>
          <p:nvPr>
            <p:ph idx="12"/>
          </p:nvPr>
        </p:nvSpPr>
        <p:spPr>
          <a:xfrm>
            <a:off x="8058383" y="1816101"/>
            <a:ext cx="3520837"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6" name="Group 165"/>
          <p:cNvGrpSpPr/>
          <p:nvPr userDrawn="1"/>
        </p:nvGrpSpPr>
        <p:grpSpPr>
          <a:xfrm>
            <a:off x="-201766" y="-141164"/>
            <a:ext cx="12586564" cy="7136527"/>
            <a:chOff x="-151325" y="-141165"/>
            <a:chExt cx="9439923" cy="7136527"/>
          </a:xfrm>
        </p:grpSpPr>
        <p:grpSp>
          <p:nvGrpSpPr>
            <p:cNvPr id="167" name="Group 166"/>
            <p:cNvGrpSpPr/>
            <p:nvPr userDrawn="1"/>
          </p:nvGrpSpPr>
          <p:grpSpPr>
            <a:xfrm>
              <a:off x="457731" y="6873247"/>
              <a:ext cx="8226688" cy="122115"/>
              <a:chOff x="457731" y="6582508"/>
              <a:chExt cx="8226688" cy="486507"/>
            </a:xfrm>
          </p:grpSpPr>
          <p:cxnSp>
            <p:nvCxnSpPr>
              <p:cNvPr id="276" name="Straight Connector 275"/>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78" name="Group 277"/>
              <p:cNvGrpSpPr/>
              <p:nvPr userDrawn="1"/>
            </p:nvGrpSpPr>
            <p:grpSpPr>
              <a:xfrm>
                <a:off x="7986158" y="6582508"/>
                <a:ext cx="152400" cy="486507"/>
                <a:chOff x="7983415" y="6582508"/>
                <a:chExt cx="152400" cy="486507"/>
              </a:xfrm>
            </p:grpSpPr>
            <p:cxnSp>
              <p:nvCxnSpPr>
                <p:cNvPr id="309" name="Straight Connector 30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userDrawn="1"/>
            </p:nvGrpSpPr>
            <p:grpSpPr>
              <a:xfrm>
                <a:off x="7287901" y="6582508"/>
                <a:ext cx="152400" cy="486507"/>
                <a:chOff x="7983415" y="6582508"/>
                <a:chExt cx="152400" cy="486507"/>
              </a:xfrm>
            </p:grpSpPr>
            <p:cxnSp>
              <p:nvCxnSpPr>
                <p:cNvPr id="307" name="Straight Connector 30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userDrawn="1"/>
            </p:nvGrpSpPr>
            <p:grpSpPr>
              <a:xfrm>
                <a:off x="6589644" y="6582508"/>
                <a:ext cx="152400" cy="486507"/>
                <a:chOff x="7983415" y="6582508"/>
                <a:chExt cx="152400" cy="486507"/>
              </a:xfrm>
            </p:grpSpPr>
            <p:cxnSp>
              <p:nvCxnSpPr>
                <p:cNvPr id="305" name="Straight Connector 30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userDrawn="1"/>
            </p:nvGrpSpPr>
            <p:grpSpPr>
              <a:xfrm>
                <a:off x="5891387" y="6582508"/>
                <a:ext cx="152400" cy="486507"/>
                <a:chOff x="7983415" y="6582508"/>
                <a:chExt cx="152400" cy="486507"/>
              </a:xfrm>
            </p:grpSpPr>
            <p:cxnSp>
              <p:nvCxnSpPr>
                <p:cNvPr id="303" name="Straight Connector 30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2" name="Group 281"/>
              <p:cNvGrpSpPr/>
              <p:nvPr userDrawn="1"/>
            </p:nvGrpSpPr>
            <p:grpSpPr>
              <a:xfrm>
                <a:off x="5193130" y="6582508"/>
                <a:ext cx="152400" cy="486507"/>
                <a:chOff x="7983415" y="6582508"/>
                <a:chExt cx="152400" cy="486507"/>
              </a:xfrm>
            </p:grpSpPr>
            <p:cxnSp>
              <p:nvCxnSpPr>
                <p:cNvPr id="301" name="Straight Connector 30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3" name="Group 282"/>
              <p:cNvGrpSpPr/>
              <p:nvPr userDrawn="1"/>
            </p:nvGrpSpPr>
            <p:grpSpPr>
              <a:xfrm>
                <a:off x="4494873" y="6582508"/>
                <a:ext cx="152400" cy="486507"/>
                <a:chOff x="7983415" y="6582508"/>
                <a:chExt cx="152400" cy="486507"/>
              </a:xfrm>
            </p:grpSpPr>
            <p:cxnSp>
              <p:nvCxnSpPr>
                <p:cNvPr id="299" name="Straight Connector 29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4" name="Group 283"/>
              <p:cNvGrpSpPr/>
              <p:nvPr userDrawn="1"/>
            </p:nvGrpSpPr>
            <p:grpSpPr>
              <a:xfrm>
                <a:off x="3796616" y="6582508"/>
                <a:ext cx="152400" cy="486507"/>
                <a:chOff x="7983415" y="6582508"/>
                <a:chExt cx="152400" cy="486507"/>
              </a:xfrm>
            </p:grpSpPr>
            <p:cxnSp>
              <p:nvCxnSpPr>
                <p:cNvPr id="297" name="Straight Connector 29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5" name="Group 284"/>
              <p:cNvGrpSpPr/>
              <p:nvPr userDrawn="1"/>
            </p:nvGrpSpPr>
            <p:grpSpPr>
              <a:xfrm>
                <a:off x="3098359" y="6582508"/>
                <a:ext cx="152400" cy="486507"/>
                <a:chOff x="7983415" y="6582508"/>
                <a:chExt cx="152400" cy="486507"/>
              </a:xfrm>
            </p:grpSpPr>
            <p:cxnSp>
              <p:nvCxnSpPr>
                <p:cNvPr id="295" name="Straight Connector 29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6" name="Group 285"/>
              <p:cNvGrpSpPr/>
              <p:nvPr userDrawn="1"/>
            </p:nvGrpSpPr>
            <p:grpSpPr>
              <a:xfrm>
                <a:off x="2400102" y="6582508"/>
                <a:ext cx="152400" cy="486507"/>
                <a:chOff x="7983415" y="6582508"/>
                <a:chExt cx="152400" cy="486507"/>
              </a:xfrm>
            </p:grpSpPr>
            <p:cxnSp>
              <p:nvCxnSpPr>
                <p:cNvPr id="293" name="Straight Connector 29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7" name="Group 286"/>
              <p:cNvGrpSpPr/>
              <p:nvPr userDrawn="1"/>
            </p:nvGrpSpPr>
            <p:grpSpPr>
              <a:xfrm>
                <a:off x="1701845" y="6582508"/>
                <a:ext cx="152400" cy="486507"/>
                <a:chOff x="7983415" y="6582508"/>
                <a:chExt cx="152400" cy="486507"/>
              </a:xfrm>
            </p:grpSpPr>
            <p:cxnSp>
              <p:nvCxnSpPr>
                <p:cNvPr id="291" name="Straight Connector 29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8" name="Group 287"/>
              <p:cNvGrpSpPr/>
              <p:nvPr userDrawn="1"/>
            </p:nvGrpSpPr>
            <p:grpSpPr>
              <a:xfrm>
                <a:off x="1003588" y="6582508"/>
                <a:ext cx="152400" cy="486507"/>
                <a:chOff x="7983415" y="6582508"/>
                <a:chExt cx="152400" cy="486507"/>
              </a:xfrm>
            </p:grpSpPr>
            <p:cxnSp>
              <p:nvCxnSpPr>
                <p:cNvPr id="289" name="Straight Connector 28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userDrawn="1"/>
          </p:nvGrpSpPr>
          <p:grpSpPr>
            <a:xfrm>
              <a:off x="-151325" y="454007"/>
              <a:ext cx="122115" cy="5945205"/>
              <a:chOff x="-238875" y="454007"/>
              <a:chExt cx="122115" cy="5945205"/>
            </a:xfrm>
          </p:grpSpPr>
          <p:cxnSp>
            <p:nvCxnSpPr>
              <p:cNvPr id="241" name="Straight Connector 240"/>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42" name="Group 241"/>
              <p:cNvGrpSpPr/>
              <p:nvPr userDrawn="1"/>
            </p:nvGrpSpPr>
            <p:grpSpPr>
              <a:xfrm rot="5400000">
                <a:off x="-254017" y="5940709"/>
                <a:ext cx="152400" cy="122115"/>
                <a:chOff x="7983415" y="6582508"/>
                <a:chExt cx="152400" cy="486507"/>
              </a:xfrm>
            </p:grpSpPr>
            <p:cxnSp>
              <p:nvCxnSpPr>
                <p:cNvPr id="274" name="Straight Connector 27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userDrawn="1"/>
            </p:nvGrpSpPr>
            <p:grpSpPr>
              <a:xfrm rot="5400000">
                <a:off x="-254017" y="5467067"/>
                <a:ext cx="152400" cy="122115"/>
                <a:chOff x="7983415" y="6582508"/>
                <a:chExt cx="152400" cy="486507"/>
              </a:xfrm>
            </p:grpSpPr>
            <p:cxnSp>
              <p:nvCxnSpPr>
                <p:cNvPr id="272" name="Straight Connector 27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p:cNvGrpSpPr/>
              <p:nvPr userDrawn="1"/>
            </p:nvGrpSpPr>
            <p:grpSpPr>
              <a:xfrm rot="5400000">
                <a:off x="-254017" y="4993425"/>
                <a:ext cx="152400" cy="122115"/>
                <a:chOff x="7983415" y="6582508"/>
                <a:chExt cx="152400" cy="486507"/>
              </a:xfrm>
            </p:grpSpPr>
            <p:cxnSp>
              <p:nvCxnSpPr>
                <p:cNvPr id="270" name="Straight Connector 26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5" name="Group 244"/>
              <p:cNvGrpSpPr/>
              <p:nvPr userDrawn="1"/>
            </p:nvGrpSpPr>
            <p:grpSpPr>
              <a:xfrm rot="5400000">
                <a:off x="-254017" y="4519783"/>
                <a:ext cx="152400" cy="122115"/>
                <a:chOff x="7983415" y="6582508"/>
                <a:chExt cx="152400" cy="486507"/>
              </a:xfrm>
            </p:grpSpPr>
            <p:cxnSp>
              <p:nvCxnSpPr>
                <p:cNvPr id="268" name="Straight Connector 26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userDrawn="1"/>
            </p:nvGrpSpPr>
            <p:grpSpPr>
              <a:xfrm rot="5400000">
                <a:off x="-254017" y="4046141"/>
                <a:ext cx="152400" cy="122115"/>
                <a:chOff x="7983415" y="6582508"/>
                <a:chExt cx="152400" cy="486507"/>
              </a:xfrm>
            </p:grpSpPr>
            <p:cxnSp>
              <p:nvCxnSpPr>
                <p:cNvPr id="266" name="Straight Connector 26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p:cNvGrpSpPr/>
              <p:nvPr userDrawn="1"/>
            </p:nvGrpSpPr>
            <p:grpSpPr>
              <a:xfrm rot="5400000">
                <a:off x="-254017" y="3572499"/>
                <a:ext cx="152400" cy="122115"/>
                <a:chOff x="7983415" y="6582508"/>
                <a:chExt cx="152400" cy="486507"/>
              </a:xfrm>
            </p:grpSpPr>
            <p:cxnSp>
              <p:nvCxnSpPr>
                <p:cNvPr id="264" name="Straight Connector 26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userDrawn="1"/>
            </p:nvGrpSpPr>
            <p:grpSpPr>
              <a:xfrm rot="5400000">
                <a:off x="-254017" y="3098857"/>
                <a:ext cx="152400" cy="122115"/>
                <a:chOff x="7983415" y="6582508"/>
                <a:chExt cx="152400" cy="486507"/>
              </a:xfrm>
            </p:grpSpPr>
            <p:cxnSp>
              <p:nvCxnSpPr>
                <p:cNvPr id="262" name="Straight Connector 26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9" name="Group 248"/>
              <p:cNvGrpSpPr/>
              <p:nvPr userDrawn="1"/>
            </p:nvGrpSpPr>
            <p:grpSpPr>
              <a:xfrm rot="5400000">
                <a:off x="-254017" y="2625215"/>
                <a:ext cx="152400" cy="122115"/>
                <a:chOff x="7983415" y="6582508"/>
                <a:chExt cx="152400" cy="486507"/>
              </a:xfrm>
            </p:grpSpPr>
            <p:cxnSp>
              <p:nvCxnSpPr>
                <p:cNvPr id="260" name="Straight Connector 25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userDrawn="1"/>
            </p:nvGrpSpPr>
            <p:grpSpPr>
              <a:xfrm rot="5400000">
                <a:off x="-254017" y="2151573"/>
                <a:ext cx="152400" cy="122115"/>
                <a:chOff x="7983415" y="6582508"/>
                <a:chExt cx="152400" cy="486507"/>
              </a:xfrm>
            </p:grpSpPr>
            <p:cxnSp>
              <p:nvCxnSpPr>
                <p:cNvPr id="258" name="Straight Connector 25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1" name="Group 250"/>
              <p:cNvGrpSpPr/>
              <p:nvPr userDrawn="1"/>
            </p:nvGrpSpPr>
            <p:grpSpPr>
              <a:xfrm rot="5400000">
                <a:off x="-254017" y="1677931"/>
                <a:ext cx="152400" cy="122115"/>
                <a:chOff x="7983415" y="6582508"/>
                <a:chExt cx="152400" cy="486507"/>
              </a:xfrm>
            </p:grpSpPr>
            <p:cxnSp>
              <p:nvCxnSpPr>
                <p:cNvPr id="256" name="Straight Connector 25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2" name="Group 251"/>
              <p:cNvGrpSpPr/>
              <p:nvPr userDrawn="1"/>
            </p:nvGrpSpPr>
            <p:grpSpPr>
              <a:xfrm rot="5400000">
                <a:off x="-254017" y="997340"/>
                <a:ext cx="152400" cy="122115"/>
                <a:chOff x="7983415" y="6582508"/>
                <a:chExt cx="152400" cy="486507"/>
              </a:xfrm>
            </p:grpSpPr>
            <p:cxnSp>
              <p:nvCxnSpPr>
                <p:cNvPr id="254" name="Straight Connector 25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53" name="Straight Connector 252"/>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userDrawn="1"/>
          </p:nvGrpSpPr>
          <p:grpSpPr>
            <a:xfrm>
              <a:off x="9166483" y="454007"/>
              <a:ext cx="122115" cy="5945205"/>
              <a:chOff x="-238875" y="454007"/>
              <a:chExt cx="122115" cy="5945205"/>
            </a:xfrm>
          </p:grpSpPr>
          <p:cxnSp>
            <p:nvCxnSpPr>
              <p:cNvPr id="206" name="Straight Connector 205"/>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07" name="Group 206"/>
              <p:cNvGrpSpPr/>
              <p:nvPr userDrawn="1"/>
            </p:nvGrpSpPr>
            <p:grpSpPr>
              <a:xfrm rot="5400000">
                <a:off x="-254017" y="5940709"/>
                <a:ext cx="152400" cy="122115"/>
                <a:chOff x="7983415" y="6582508"/>
                <a:chExt cx="152400" cy="486507"/>
              </a:xfrm>
            </p:grpSpPr>
            <p:cxnSp>
              <p:nvCxnSpPr>
                <p:cNvPr id="239" name="Straight Connector 23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userDrawn="1"/>
            </p:nvGrpSpPr>
            <p:grpSpPr>
              <a:xfrm rot="5400000">
                <a:off x="-254017" y="5467067"/>
                <a:ext cx="152400" cy="122115"/>
                <a:chOff x="7983415" y="6582508"/>
                <a:chExt cx="152400" cy="486507"/>
              </a:xfrm>
            </p:grpSpPr>
            <p:cxnSp>
              <p:nvCxnSpPr>
                <p:cNvPr id="237" name="Straight Connector 23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9" name="Group 208"/>
              <p:cNvGrpSpPr/>
              <p:nvPr userDrawn="1"/>
            </p:nvGrpSpPr>
            <p:grpSpPr>
              <a:xfrm rot="5400000">
                <a:off x="-254017" y="4993425"/>
                <a:ext cx="152400" cy="122115"/>
                <a:chOff x="7983415" y="6582508"/>
                <a:chExt cx="152400" cy="486507"/>
              </a:xfrm>
            </p:grpSpPr>
            <p:cxnSp>
              <p:nvCxnSpPr>
                <p:cNvPr id="235" name="Straight Connector 23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0" name="Group 209"/>
              <p:cNvGrpSpPr/>
              <p:nvPr userDrawn="1"/>
            </p:nvGrpSpPr>
            <p:grpSpPr>
              <a:xfrm rot="5400000">
                <a:off x="-254017" y="4519783"/>
                <a:ext cx="152400" cy="122115"/>
                <a:chOff x="7983415" y="6582508"/>
                <a:chExt cx="152400" cy="486507"/>
              </a:xfrm>
            </p:grpSpPr>
            <p:cxnSp>
              <p:nvCxnSpPr>
                <p:cNvPr id="233" name="Straight Connector 23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1" name="Group 210"/>
              <p:cNvGrpSpPr/>
              <p:nvPr userDrawn="1"/>
            </p:nvGrpSpPr>
            <p:grpSpPr>
              <a:xfrm rot="5400000">
                <a:off x="-254017" y="4046141"/>
                <a:ext cx="152400" cy="122115"/>
                <a:chOff x="7983415" y="6582508"/>
                <a:chExt cx="152400" cy="486507"/>
              </a:xfrm>
            </p:grpSpPr>
            <p:cxnSp>
              <p:nvCxnSpPr>
                <p:cNvPr id="231" name="Straight Connector 23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userDrawn="1"/>
            </p:nvGrpSpPr>
            <p:grpSpPr>
              <a:xfrm rot="5400000">
                <a:off x="-254017" y="3572499"/>
                <a:ext cx="152400" cy="122115"/>
                <a:chOff x="7983415" y="6582508"/>
                <a:chExt cx="152400" cy="486507"/>
              </a:xfrm>
            </p:grpSpPr>
            <p:cxnSp>
              <p:nvCxnSpPr>
                <p:cNvPr id="229" name="Straight Connector 22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3" name="Group 212"/>
              <p:cNvGrpSpPr/>
              <p:nvPr userDrawn="1"/>
            </p:nvGrpSpPr>
            <p:grpSpPr>
              <a:xfrm rot="5400000">
                <a:off x="-254017" y="3098857"/>
                <a:ext cx="152400" cy="122115"/>
                <a:chOff x="7983415" y="6582508"/>
                <a:chExt cx="152400" cy="486507"/>
              </a:xfrm>
            </p:grpSpPr>
            <p:cxnSp>
              <p:nvCxnSpPr>
                <p:cNvPr id="227" name="Straight Connector 22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userDrawn="1"/>
            </p:nvGrpSpPr>
            <p:grpSpPr>
              <a:xfrm rot="5400000">
                <a:off x="-254017" y="2625215"/>
                <a:ext cx="152400" cy="122115"/>
                <a:chOff x="7983415" y="6582508"/>
                <a:chExt cx="152400" cy="486507"/>
              </a:xfrm>
            </p:grpSpPr>
            <p:cxnSp>
              <p:nvCxnSpPr>
                <p:cNvPr id="225" name="Straight Connector 22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5" name="Group 214"/>
              <p:cNvGrpSpPr/>
              <p:nvPr userDrawn="1"/>
            </p:nvGrpSpPr>
            <p:grpSpPr>
              <a:xfrm rot="5400000">
                <a:off x="-254017" y="2151573"/>
                <a:ext cx="152400" cy="122115"/>
                <a:chOff x="7983415" y="6582508"/>
                <a:chExt cx="152400" cy="486507"/>
              </a:xfrm>
            </p:grpSpPr>
            <p:cxnSp>
              <p:nvCxnSpPr>
                <p:cNvPr id="223" name="Straight Connector 22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6" name="Group 215"/>
              <p:cNvGrpSpPr/>
              <p:nvPr userDrawn="1"/>
            </p:nvGrpSpPr>
            <p:grpSpPr>
              <a:xfrm rot="5400000">
                <a:off x="-254017" y="1677931"/>
                <a:ext cx="152400" cy="122115"/>
                <a:chOff x="7983415" y="6582508"/>
                <a:chExt cx="152400" cy="486507"/>
              </a:xfrm>
            </p:grpSpPr>
            <p:cxnSp>
              <p:nvCxnSpPr>
                <p:cNvPr id="221" name="Straight Connector 22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userDrawn="1"/>
            </p:nvGrpSpPr>
            <p:grpSpPr>
              <a:xfrm rot="5400000">
                <a:off x="-254017" y="997340"/>
                <a:ext cx="152400" cy="122115"/>
                <a:chOff x="7983415" y="6582508"/>
                <a:chExt cx="152400" cy="486507"/>
              </a:xfrm>
            </p:grpSpPr>
            <p:cxnSp>
              <p:nvCxnSpPr>
                <p:cNvPr id="219" name="Straight Connector 21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18" name="Straight Connector 217"/>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0" name="Group 169"/>
            <p:cNvGrpSpPr/>
            <p:nvPr userDrawn="1"/>
          </p:nvGrpSpPr>
          <p:grpSpPr>
            <a:xfrm>
              <a:off x="457731" y="-141165"/>
              <a:ext cx="8226688" cy="122115"/>
              <a:chOff x="457731" y="6582508"/>
              <a:chExt cx="8226688" cy="486507"/>
            </a:xfrm>
          </p:grpSpPr>
          <p:cxnSp>
            <p:nvCxnSpPr>
              <p:cNvPr id="171" name="Straight Connector 170"/>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73" name="Group 172"/>
              <p:cNvGrpSpPr/>
              <p:nvPr userDrawn="1"/>
            </p:nvGrpSpPr>
            <p:grpSpPr>
              <a:xfrm>
                <a:off x="7986158" y="6582508"/>
                <a:ext cx="152400" cy="486507"/>
                <a:chOff x="7983415" y="6582508"/>
                <a:chExt cx="152400" cy="486507"/>
              </a:xfrm>
            </p:grpSpPr>
            <p:cxnSp>
              <p:nvCxnSpPr>
                <p:cNvPr id="204" name="Straight Connector 20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userDrawn="1"/>
            </p:nvGrpSpPr>
            <p:grpSpPr>
              <a:xfrm>
                <a:off x="7287901" y="6582508"/>
                <a:ext cx="152400" cy="486507"/>
                <a:chOff x="7983415" y="6582508"/>
                <a:chExt cx="152400" cy="486507"/>
              </a:xfrm>
            </p:grpSpPr>
            <p:cxnSp>
              <p:nvCxnSpPr>
                <p:cNvPr id="202" name="Straight Connector 20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userDrawn="1"/>
            </p:nvGrpSpPr>
            <p:grpSpPr>
              <a:xfrm>
                <a:off x="6589644" y="6582508"/>
                <a:ext cx="152400" cy="486507"/>
                <a:chOff x="7983415" y="6582508"/>
                <a:chExt cx="152400" cy="486507"/>
              </a:xfrm>
            </p:grpSpPr>
            <p:cxnSp>
              <p:nvCxnSpPr>
                <p:cNvPr id="200" name="Straight Connector 19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userDrawn="1"/>
            </p:nvGrpSpPr>
            <p:grpSpPr>
              <a:xfrm>
                <a:off x="5891387" y="6582508"/>
                <a:ext cx="152400" cy="486507"/>
                <a:chOff x="7983415" y="6582508"/>
                <a:chExt cx="152400" cy="486507"/>
              </a:xfrm>
            </p:grpSpPr>
            <p:cxnSp>
              <p:nvCxnSpPr>
                <p:cNvPr id="198" name="Straight Connector 19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userDrawn="1"/>
            </p:nvGrpSpPr>
            <p:grpSpPr>
              <a:xfrm>
                <a:off x="5193130" y="6582508"/>
                <a:ext cx="152400" cy="486507"/>
                <a:chOff x="7983415" y="6582508"/>
                <a:chExt cx="152400" cy="486507"/>
              </a:xfrm>
            </p:grpSpPr>
            <p:cxnSp>
              <p:nvCxnSpPr>
                <p:cNvPr id="196" name="Straight Connector 19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8" name="Group 177"/>
              <p:cNvGrpSpPr/>
              <p:nvPr userDrawn="1"/>
            </p:nvGrpSpPr>
            <p:grpSpPr>
              <a:xfrm>
                <a:off x="4494873" y="6582508"/>
                <a:ext cx="152400" cy="486507"/>
                <a:chOff x="7983415" y="6582508"/>
                <a:chExt cx="152400" cy="486507"/>
              </a:xfrm>
            </p:grpSpPr>
            <p:cxnSp>
              <p:nvCxnSpPr>
                <p:cNvPr id="194" name="Straight Connector 19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userDrawn="1"/>
            </p:nvGrpSpPr>
            <p:grpSpPr>
              <a:xfrm>
                <a:off x="3796616" y="6582508"/>
                <a:ext cx="152400" cy="486507"/>
                <a:chOff x="7983415" y="6582508"/>
                <a:chExt cx="152400" cy="486507"/>
              </a:xfrm>
            </p:grpSpPr>
            <p:cxnSp>
              <p:nvCxnSpPr>
                <p:cNvPr id="192" name="Straight Connector 19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userDrawn="1"/>
            </p:nvGrpSpPr>
            <p:grpSpPr>
              <a:xfrm>
                <a:off x="3098359" y="6582508"/>
                <a:ext cx="152400" cy="486507"/>
                <a:chOff x="7983415" y="6582508"/>
                <a:chExt cx="152400" cy="486507"/>
              </a:xfrm>
            </p:grpSpPr>
            <p:cxnSp>
              <p:nvCxnSpPr>
                <p:cNvPr id="190" name="Straight Connector 18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1" name="Group 180"/>
              <p:cNvGrpSpPr/>
              <p:nvPr userDrawn="1"/>
            </p:nvGrpSpPr>
            <p:grpSpPr>
              <a:xfrm>
                <a:off x="2400102" y="6582508"/>
                <a:ext cx="152400" cy="486507"/>
                <a:chOff x="7983415" y="6582508"/>
                <a:chExt cx="152400" cy="486507"/>
              </a:xfrm>
            </p:grpSpPr>
            <p:cxnSp>
              <p:nvCxnSpPr>
                <p:cNvPr id="188" name="Straight Connector 18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userDrawn="1"/>
            </p:nvGrpSpPr>
            <p:grpSpPr>
              <a:xfrm>
                <a:off x="1701845" y="6582508"/>
                <a:ext cx="152400" cy="486507"/>
                <a:chOff x="7983415" y="6582508"/>
                <a:chExt cx="152400" cy="486507"/>
              </a:xfrm>
            </p:grpSpPr>
            <p:cxnSp>
              <p:nvCxnSpPr>
                <p:cNvPr id="186" name="Straight Connector 18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userDrawn="1"/>
            </p:nvGrpSpPr>
            <p:grpSpPr>
              <a:xfrm>
                <a:off x="1003588" y="6582508"/>
                <a:ext cx="152400" cy="486507"/>
                <a:chOff x="7983415" y="6582508"/>
                <a:chExt cx="152400" cy="486507"/>
              </a:xfrm>
            </p:grpSpPr>
            <p:cxnSp>
              <p:nvCxnSpPr>
                <p:cNvPr id="184" name="Straight Connector 18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sp>
        <p:nvSpPr>
          <p:cNvPr id="155" name="Text Placeholder 6"/>
          <p:cNvSpPr>
            <a:spLocks noGrp="1"/>
          </p:cNvSpPr>
          <p:nvPr>
            <p:ph type="body" sz="quarter" idx="14"/>
          </p:nvPr>
        </p:nvSpPr>
        <p:spPr>
          <a:xfrm>
            <a:off x="611717" y="6399213"/>
            <a:ext cx="7251344" cy="458788"/>
          </a:xfrm>
        </p:spPr>
        <p:txBody>
          <a:bodyPr vert="horz" lIns="0" tIns="0" rIns="0" bIns="0" rtlCol="0" anchor="ctr">
            <a:noAutofit/>
          </a:bodyPr>
          <a:lstStyle>
            <a:lvl1pPr>
              <a:defRPr lang="en-US" sz="800" i="0" kern="1200" dirty="0" smtClean="0">
                <a:solidFill>
                  <a:schemeClr val="bg2"/>
                </a:solidFill>
                <a:latin typeface="+mj-lt"/>
                <a:ea typeface="+mn-ea"/>
                <a:cs typeface="+mn-cs"/>
              </a:defRPr>
            </a:lvl1pPr>
          </a:lstStyle>
          <a:p>
            <a:pPr marL="0" lvl="0" indent="0" algn="l" defTabSz="914364" rtl="0" eaLnBrk="1" latinLnBrk="0" hangingPunct="1">
              <a:lnSpc>
                <a:spcPct val="85000"/>
              </a:lnSpc>
              <a:spcBef>
                <a:spcPts val="0"/>
              </a:spcBef>
              <a:spcAft>
                <a:spcPts val="0"/>
              </a:spcAft>
              <a:buFontTx/>
              <a:buNone/>
            </a:pPr>
            <a:r>
              <a:rPr lang="en-US"/>
              <a:t>Click to edit Master text styles</a:t>
            </a:r>
          </a:p>
        </p:txBody>
      </p:sp>
    </p:spTree>
    <p:extLst>
      <p:ext uri="{BB962C8B-B14F-4D97-AF65-F5344CB8AC3E}">
        <p14:creationId xmlns:p14="http://schemas.microsoft.com/office/powerpoint/2010/main" val="34738090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0"/>
            <a:ext cx="4495801" cy="686641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4" name="Title 1"/>
          <p:cNvSpPr>
            <a:spLocks noGrp="1"/>
          </p:cNvSpPr>
          <p:nvPr>
            <p:ph type="title"/>
          </p:nvPr>
        </p:nvSpPr>
        <p:spPr>
          <a:xfrm>
            <a:off x="269242" y="289512"/>
            <a:ext cx="3921759" cy="1691688"/>
          </a:xfrm>
        </p:spPr>
        <p:txBody>
          <a:bodyPr/>
          <a:lstStyle/>
          <a:p>
            <a:endParaRPr lang="en-GB"/>
          </a:p>
        </p:txBody>
      </p:sp>
      <p:sp>
        <p:nvSpPr>
          <p:cNvPr id="5" name="Text Placeholder 2"/>
          <p:cNvSpPr>
            <a:spLocks noGrp="1"/>
          </p:cNvSpPr>
          <p:nvPr>
            <p:ph type="body" sz="quarter" idx="14"/>
          </p:nvPr>
        </p:nvSpPr>
        <p:spPr bwMode="ltGray">
          <a:xfrm>
            <a:off x="269241" y="2133600"/>
            <a:ext cx="3921759" cy="4343400"/>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
        <p:nvSpPr>
          <p:cNvPr id="6" name="Text Placeholder 2"/>
          <p:cNvSpPr>
            <a:spLocks noGrp="1"/>
          </p:cNvSpPr>
          <p:nvPr>
            <p:ph type="body" sz="quarter" idx="15"/>
          </p:nvPr>
        </p:nvSpPr>
        <p:spPr bwMode="ltGray">
          <a:xfrm>
            <a:off x="4953000" y="1478689"/>
            <a:ext cx="6733233" cy="1789991"/>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Tree>
    <p:extLst>
      <p:ext uri="{BB962C8B-B14F-4D97-AF65-F5344CB8AC3E}">
        <p14:creationId xmlns:p14="http://schemas.microsoft.com/office/powerpoint/2010/main" val="10073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8880752"/>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87747929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sz="4267" baseline="0">
                <a:solidFill>
                  <a:schemeClr val="bg1"/>
                </a:solidFill>
                <a:latin typeface="+mj-lt"/>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398908736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lang="en-US" sz="4267" dirty="0" smtClean="0">
                <a:solidFill>
                  <a:schemeClr val="bg1"/>
                </a:solidFill>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35917696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169031308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5AEEF">
              <a:alpha val="89804"/>
            </a:srgbClr>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20000"/>
              </a:lnSpc>
              <a:buFont typeface="Arial" pitchFamily="34" charset="0"/>
              <a:buChar char="•"/>
              <a:defRPr sz="2667">
                <a:solidFill>
                  <a:schemeClr val="bg1"/>
                </a:solidFill>
              </a:defRPr>
            </a:lvl2pPr>
            <a:lvl3pPr marL="1371566" indent="-304792">
              <a:lnSpc>
                <a:spcPct val="120000"/>
              </a:lnSpc>
              <a:buFont typeface="Arial" pitchFamily="34" charset="0"/>
              <a:buChar char="•"/>
              <a:defRPr sz="2667">
                <a:solidFill>
                  <a:schemeClr val="bg1"/>
                </a:solidFill>
              </a:defRPr>
            </a:lvl3pPr>
            <a:lvl4pPr marL="1828754" indent="-304792">
              <a:lnSpc>
                <a:spcPct val="120000"/>
              </a:lnSpc>
              <a:buFont typeface="Arial" pitchFamily="34" charset="0"/>
              <a:buChar char="•"/>
              <a:defRPr sz="2667">
                <a:solidFill>
                  <a:schemeClr val="bg1"/>
                </a:solidFill>
              </a:defRPr>
            </a:lvl4pPr>
            <a:lvl5pPr marL="2285943" indent="-304792">
              <a:lnSpc>
                <a:spcPct val="12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j-lt"/>
              </a:defRPr>
            </a:lvl1pPr>
          </a:lstStyle>
          <a:p>
            <a:pPr lvl="0"/>
            <a:r>
              <a:rPr lang="en-US"/>
              <a:t>Agenda</a:t>
            </a:r>
          </a:p>
        </p:txBody>
      </p:sp>
    </p:spTree>
    <p:extLst>
      <p:ext uri="{BB962C8B-B14F-4D97-AF65-F5344CB8AC3E}">
        <p14:creationId xmlns:p14="http://schemas.microsoft.com/office/powerpoint/2010/main" val="19815117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38400" y="1219200"/>
            <a:ext cx="9144000" cy="4876800"/>
          </a:xfrm>
          <a:solidFill>
            <a:srgbClr val="EAEAEA"/>
          </a:solidFill>
        </p:spPr>
        <p:txBody>
          <a:bodyPr lIns="182880" tIns="91440" rIns="91440" bIns="91440">
            <a:normAutofit/>
          </a:bodyPr>
          <a:lstStyle>
            <a:lvl1pPr marL="304792" indent="-304792">
              <a:lnSpc>
                <a:spcPct val="100000"/>
              </a:lnSpc>
              <a:buFont typeface="Arial" pitchFamily="34" charset="0"/>
              <a:buChar char="•"/>
              <a:defRPr>
                <a:solidFill>
                  <a:srgbClr val="FF0066"/>
                </a:solidFill>
              </a:defRPr>
            </a:lvl1pPr>
            <a:lvl2pPr marL="609585" indent="-304792">
              <a:lnSpc>
                <a:spcPct val="100000"/>
              </a:lnSpc>
              <a:buFont typeface="Arial" pitchFamily="34" charset="0"/>
              <a:buChar char="•"/>
              <a:defRPr>
                <a:solidFill>
                  <a:srgbClr val="FF0066"/>
                </a:solidFill>
              </a:defRPr>
            </a:lvl2pPr>
            <a:lvl3pPr marL="914377" indent="-304792">
              <a:lnSpc>
                <a:spcPct val="100000"/>
              </a:lnSpc>
              <a:buFont typeface="Arial" pitchFamily="34" charset="0"/>
              <a:buChar char="•"/>
              <a:defRPr>
                <a:solidFill>
                  <a:srgbClr val="FF0066"/>
                </a:solidFill>
              </a:defRPr>
            </a:lvl3pPr>
            <a:lvl4pPr marL="1219170" indent="-304792">
              <a:lnSpc>
                <a:spcPct val="100000"/>
              </a:lnSpc>
              <a:buFont typeface="Arial" pitchFamily="34" charset="0"/>
              <a:buChar char="•"/>
              <a:defRPr>
                <a:solidFill>
                  <a:srgbClr val="FF0066"/>
                </a:solidFill>
              </a:defRPr>
            </a:lvl4pPr>
            <a:lvl5pPr marL="1523962" indent="-304792">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Title 1"/>
          <p:cNvSpPr>
            <a:spLocks noGrp="1"/>
          </p:cNvSpPr>
          <p:nvPr>
            <p:ph type="title"/>
          </p:nvPr>
        </p:nvSpPr>
        <p:spPr>
          <a:xfrm>
            <a:off x="0" y="1219200"/>
            <a:ext cx="2438400" cy="2438400"/>
          </a:xfrm>
          <a:prstGeom prst="rect">
            <a:avLst/>
          </a:prstGeom>
          <a:solidFill>
            <a:schemeClr val="bg2">
              <a:lumMod val="90000"/>
              <a:alpha val="89804"/>
            </a:schemeClr>
          </a:solidFill>
        </p:spPr>
        <p:txBody>
          <a:bodyPr lIns="182880" tIns="91440" rIns="91440" bIns="91440">
            <a:normAutofit/>
          </a:bodyPr>
          <a:lstStyle>
            <a:lvl1pPr>
              <a:defRPr sz="2667" baseline="0">
                <a:solidFill>
                  <a:srgbClr val="FF0066"/>
                </a:solidFill>
                <a:latin typeface="+mn-lt"/>
              </a:defRPr>
            </a:lvl1pPr>
          </a:lstStyle>
          <a:p>
            <a:pPr lvl="0"/>
            <a:endParaRPr lang="en-US"/>
          </a:p>
        </p:txBody>
      </p:sp>
    </p:spTree>
    <p:extLst>
      <p:ext uri="{BB962C8B-B14F-4D97-AF65-F5344CB8AC3E}">
        <p14:creationId xmlns:p14="http://schemas.microsoft.com/office/powerpoint/2010/main" val="26481859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862849760"/>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94210139"/>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8046485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236"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29164"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4410682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484614"/>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7"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6871080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096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7"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16035493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57272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38400" y="1219200"/>
            <a:ext cx="4876800" cy="4875781"/>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2395568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29164" y="1219199"/>
            <a:ext cx="4779264" cy="1219200"/>
          </a:xfrm>
          <a:solidFill>
            <a:srgbClr val="15AEEF"/>
          </a:solidFill>
        </p:spPr>
        <p:txBody>
          <a:bodyPr lIns="182880" tIns="91440" rIns="91440" bIns="91440" anchor="t">
            <a:normAutofit/>
          </a:bodyPr>
          <a:lstStyle>
            <a:lvl1pPr marL="0" indent="0">
              <a:lnSpc>
                <a:spcPct val="90000"/>
              </a:lnSpc>
              <a:spcBef>
                <a:spcPts val="0"/>
              </a:spcBef>
              <a:buNone/>
              <a:defRPr sz="3333" b="0">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2429164" y="2413000"/>
            <a:ext cx="4779264" cy="3657600"/>
          </a:xfrm>
          <a:solidFill>
            <a:srgbClr val="15AEEF"/>
          </a:solidFill>
        </p:spPr>
        <p:txBody>
          <a:bodyPr wrap="square" lIns="182880" tIns="91440" rIns="91440" bIns="91440" anchor="t">
            <a:normAutofit/>
          </a:bodyPr>
          <a:lstStyle>
            <a:lvl1pPr marL="395085" indent="-395085">
              <a:defRPr sz="3067"/>
            </a:lvl1pPr>
            <a:lvl2pPr marL="760188" indent="-365102">
              <a:defRPr sz="2667"/>
            </a:lvl2pPr>
            <a:lvl3pPr marL="1095305" indent="-326299">
              <a:defRPr sz="2400"/>
            </a:lvl3pPr>
            <a:lvl4pPr marL="1400437" indent="-315716">
              <a:defRPr sz="2267"/>
            </a:lvl4pPr>
            <a:lvl5pPr marL="1705571" indent="-294551">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236" y="1219200"/>
            <a:ext cx="2438400" cy="2438400"/>
          </a:xfrm>
          <a:prstGeom prst="rect">
            <a:avLst/>
          </a:prstGeom>
          <a:solidFill>
            <a:srgbClr val="0A5BBA"/>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13" name="Text Placeholder 4"/>
          <p:cNvSpPr>
            <a:spLocks noGrp="1"/>
          </p:cNvSpPr>
          <p:nvPr>
            <p:ph type="body" sz="quarter" idx="12"/>
          </p:nvPr>
        </p:nvSpPr>
        <p:spPr>
          <a:xfrm>
            <a:off x="7204364" y="1219199"/>
            <a:ext cx="4779264" cy="1219200"/>
          </a:xfrm>
          <a:solidFill>
            <a:srgbClr val="0A5BBA"/>
          </a:solidFill>
        </p:spPr>
        <p:txBody>
          <a:bodyPr lIns="182880" tIns="91440" rIns="91440" bIns="91440" anchor="t">
            <a:normAutofit/>
          </a:bodyPr>
          <a:lstStyle>
            <a:lvl1pPr marL="0" indent="0">
              <a:lnSpc>
                <a:spcPct val="90000"/>
              </a:lnSpc>
              <a:spcBef>
                <a:spcPts val="0"/>
              </a:spcBef>
              <a:buNone/>
              <a:defRPr sz="3333" b="0" baseline="0">
                <a:solidFill>
                  <a:schemeClr val="bg1"/>
                </a:solidFill>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14" name="Content Placeholder 5"/>
          <p:cNvSpPr>
            <a:spLocks noGrp="1"/>
          </p:cNvSpPr>
          <p:nvPr>
            <p:ph sz="quarter" idx="13"/>
          </p:nvPr>
        </p:nvSpPr>
        <p:spPr>
          <a:xfrm>
            <a:off x="7204364" y="2412999"/>
            <a:ext cx="4779264" cy="3657600"/>
          </a:xfrm>
          <a:solidFill>
            <a:srgbClr val="0A5BBA"/>
          </a:solidFill>
        </p:spPr>
        <p:txBody>
          <a:bodyPr wrap="square" lIns="182880" tIns="91440" rIns="91440" bIns="91440" anchor="t">
            <a:normAutofit/>
          </a:bodyPr>
          <a:lstStyle>
            <a:lvl1pPr marL="395085" indent="-395085">
              <a:defRPr sz="3067">
                <a:solidFill>
                  <a:schemeClr val="bg1"/>
                </a:solidFill>
              </a:defRPr>
            </a:lvl1pPr>
            <a:lvl2pPr marL="760188" indent="-365102">
              <a:defRPr sz="2667">
                <a:solidFill>
                  <a:schemeClr val="bg1"/>
                </a:solidFill>
              </a:defRPr>
            </a:lvl2pPr>
            <a:lvl3pPr marL="1095305" indent="-326299">
              <a:defRPr sz="2400">
                <a:solidFill>
                  <a:schemeClr val="bg1"/>
                </a:solidFill>
              </a:defRPr>
            </a:lvl3pPr>
            <a:lvl4pPr marL="1400437" indent="-315716">
              <a:defRPr sz="2267">
                <a:solidFill>
                  <a:schemeClr val="bg1"/>
                </a:solidFill>
              </a:defRPr>
            </a:lvl4pPr>
            <a:lvl5pPr marL="1705571" indent="-294551">
              <a:defRPr sz="2267">
                <a:solidFill>
                  <a:schemeClr val="bg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1642905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95456518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4201193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3 Microsoft Corporation. All rights reserved. Microsoft, Windows,</a:t>
            </a:r>
            <a:r>
              <a:rPr lang="en-US" sz="1067" kern="1200" baseline="0">
                <a:solidFill>
                  <a:schemeClr val="tx1"/>
                </a:solidFill>
                <a:latin typeface="+mn-lt"/>
                <a:ea typeface="+mn-ea"/>
                <a:cs typeface="+mn-cs"/>
              </a:rPr>
              <a:t> and </a:t>
            </a:r>
            <a:r>
              <a:rPr lang="en-US" sz="1067"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3200"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1410014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nd </a:t>
            </a:r>
            <a:r>
              <a:rPr lang="en-US" sz="1067"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2667"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9" name="Picture Placeholder 5" descr="MSFT_logo_rgb_C-Wht.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28413913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
        <p:nvSpPr>
          <p:cNvPr id="13" name="TextBox 12"/>
          <p:cNvSpPr txBox="1"/>
          <p:nvPr userDrawn="1"/>
        </p:nvSpPr>
        <p:spPr>
          <a:xfrm>
            <a:off x="9781903" y="133322"/>
            <a:ext cx="2003149" cy="276999"/>
          </a:xfrm>
          <a:prstGeom prst="rect">
            <a:avLst/>
          </a:prstGeom>
          <a:noFill/>
        </p:spPr>
        <p:txBody>
          <a:bodyPr wrap="square" rtlCol="0">
            <a:spAutoFit/>
          </a:bodyPr>
          <a:lstStyle/>
          <a:p>
            <a:pPr algn="r"/>
            <a:r>
              <a:rPr lang="en-US" sz="1200">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t>
            </a:r>
            <a:r>
              <a:rPr lang="en-US" sz="1067"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7" name="Text Placeholder 9"/>
          <p:cNvSpPr>
            <a:spLocks noGrp="1"/>
          </p:cNvSpPr>
          <p:nvPr>
            <p:ph type="body" sz="quarter" idx="12"/>
          </p:nvPr>
        </p:nvSpPr>
        <p:spPr>
          <a:xfrm>
            <a:off x="0" y="1219200"/>
            <a:ext cx="4876800" cy="2438400"/>
          </a:xfrm>
          <a:solidFill>
            <a:srgbClr val="FFFFFF">
              <a:alpha val="90000"/>
            </a:srgbClr>
          </a:solidFill>
        </p:spPr>
        <p:txBody>
          <a:bodyPr lIns="182880" tIns="91440" rIns="91440" bIns="91440">
            <a:normAutofit/>
          </a:bodyPr>
          <a:lstStyle>
            <a:lvl1pPr marL="0" indent="0" algn="l">
              <a:lnSpc>
                <a:spcPct val="110000"/>
              </a:lnSpc>
              <a:buNone/>
              <a:defRPr lang="en-US" sz="2667" b="0" kern="1200" cap="none" spc="-133" baseline="0" dirty="0">
                <a:ln w="3175">
                  <a:noFill/>
                </a:ln>
                <a:solidFill>
                  <a:schemeClr val="tx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spTree>
    <p:extLst>
      <p:ext uri="{BB962C8B-B14F-4D97-AF65-F5344CB8AC3E}">
        <p14:creationId xmlns:p14="http://schemas.microsoft.com/office/powerpoint/2010/main" val="21762532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486517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2997681"/>
      </p:ext>
    </p:extLst>
  </p:cSld>
  <p:clrMapOvr>
    <a:overrideClrMapping bg1="dk1" tx1="lt1" bg2="dk2" tx2="lt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8.png"/><Relationship Id="rId3" Type="http://schemas.openxmlformats.org/officeDocument/2006/relationships/slideLayout" Target="../slideLayouts/slideLayout43.xml"/><Relationship Id="rId7" Type="http://schemas.openxmlformats.org/officeDocument/2006/relationships/theme" Target="../theme/theme3.xml"/><Relationship Id="rId12" Type="http://schemas.openxmlformats.org/officeDocument/2006/relationships/image" Target="../media/image7.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6.emf"/><Relationship Id="rId5" Type="http://schemas.openxmlformats.org/officeDocument/2006/relationships/slideLayout" Target="../slideLayouts/slideLayout45.xml"/><Relationship Id="rId10" Type="http://schemas.openxmlformats.org/officeDocument/2006/relationships/oleObject" Target="../embeddings/oleObject1.bin"/><Relationship Id="rId4" Type="http://schemas.openxmlformats.org/officeDocument/2006/relationships/slideLayout" Target="../slideLayouts/slideLayout44.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9695557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401086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52" name="think-cell Slide" r:id="rId10" imgW="377" imgH="377" progId="TCLayout.ActiveDocument.1">
                  <p:embed/>
                </p:oleObj>
              </mc:Choice>
              <mc:Fallback>
                <p:oleObj name="think-cell Slide" r:id="rId10" imgW="377" imgH="377"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pic>
        <p:nvPicPr>
          <p:cNvPr id="6" name="Picture 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3"/>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16972094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1E3F13-2DB3-405F-9293-2FD3D3D8001C}" type="datetimeFigureOut">
              <a:rPr lang="en-US" smtClean="0"/>
              <a:t>11/1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72D6E-37D3-423E-AC76-EBCD21EAF5AF}" type="slidenum">
              <a:rPr lang="en-US" smtClean="0"/>
              <a:t>‹#›</a:t>
            </a:fld>
            <a:endParaRPr lang="en-US"/>
          </a:p>
        </p:txBody>
      </p:sp>
    </p:spTree>
    <p:extLst>
      <p:ext uri="{BB962C8B-B14F-4D97-AF65-F5344CB8AC3E}">
        <p14:creationId xmlns:p14="http://schemas.microsoft.com/office/powerpoint/2010/main" val="209675036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68801" y="1447800"/>
            <a:ext cx="7302364" cy="29751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Slide Number Placeholder 2"/>
          <p:cNvSpPr>
            <a:spLocks noGrp="1"/>
          </p:cNvSpPr>
          <p:nvPr>
            <p:ph type="sldNum" sz="quarter" idx="4"/>
          </p:nvPr>
        </p:nvSpPr>
        <p:spPr>
          <a:xfrm>
            <a:off x="9042400" y="6356351"/>
            <a:ext cx="2844800" cy="365125"/>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25019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Lst>
  <p:transition>
    <p:fade/>
  </p:transition>
  <p:hf hdr="0" ftr="0" dt="0"/>
  <p:txStyles>
    <p:titleStyle>
      <a:lvl1pPr algn="l" defTabSz="1219120" rtl="0" eaLnBrk="1" latinLnBrk="0" hangingPunct="1">
        <a:lnSpc>
          <a:spcPct val="90000"/>
        </a:lnSpc>
        <a:spcBef>
          <a:spcPct val="0"/>
        </a:spcBef>
        <a:buNone/>
        <a:defRPr lang="en-US" sz="5333"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2676"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20" rtl="0" eaLnBrk="1" latinLnBrk="0" hangingPunct="1">
        <a:defRPr sz="2400" kern="1200">
          <a:solidFill>
            <a:schemeClr val="tx1"/>
          </a:solidFill>
          <a:latin typeface="+mn-lt"/>
          <a:ea typeface="+mn-ea"/>
          <a:cs typeface="+mn-cs"/>
        </a:defRPr>
      </a:lvl1pPr>
      <a:lvl2pPr marL="609561" algn="l" defTabSz="1219120" rtl="0" eaLnBrk="1" latinLnBrk="0" hangingPunct="1">
        <a:defRPr sz="2400" kern="1200">
          <a:solidFill>
            <a:schemeClr val="tx1"/>
          </a:solidFill>
          <a:latin typeface="+mn-lt"/>
          <a:ea typeface="+mn-ea"/>
          <a:cs typeface="+mn-cs"/>
        </a:defRPr>
      </a:lvl2pPr>
      <a:lvl3pPr marL="1219120" algn="l" defTabSz="1219120" rtl="0" eaLnBrk="1" latinLnBrk="0" hangingPunct="1">
        <a:defRPr sz="2400" kern="1200">
          <a:solidFill>
            <a:schemeClr val="tx1"/>
          </a:solidFill>
          <a:latin typeface="+mn-lt"/>
          <a:ea typeface="+mn-ea"/>
          <a:cs typeface="+mn-cs"/>
        </a:defRPr>
      </a:lvl3pPr>
      <a:lvl4pPr marL="1828681" algn="l" defTabSz="1219120" rtl="0" eaLnBrk="1" latinLnBrk="0" hangingPunct="1">
        <a:defRPr sz="2400" kern="1200">
          <a:solidFill>
            <a:schemeClr val="tx1"/>
          </a:solidFill>
          <a:latin typeface="+mn-lt"/>
          <a:ea typeface="+mn-ea"/>
          <a:cs typeface="+mn-cs"/>
        </a:defRPr>
      </a:lvl4pPr>
      <a:lvl5pPr marL="2438242" algn="l" defTabSz="1219120" rtl="0" eaLnBrk="1" latinLnBrk="0" hangingPunct="1">
        <a:defRPr sz="2400" kern="1200">
          <a:solidFill>
            <a:schemeClr val="tx1"/>
          </a:solidFill>
          <a:latin typeface="+mn-lt"/>
          <a:ea typeface="+mn-ea"/>
          <a:cs typeface="+mn-cs"/>
        </a:defRPr>
      </a:lvl5pPr>
      <a:lvl6pPr marL="3047802" algn="l" defTabSz="1219120" rtl="0" eaLnBrk="1" latinLnBrk="0" hangingPunct="1">
        <a:defRPr sz="2400" kern="1200">
          <a:solidFill>
            <a:schemeClr val="tx1"/>
          </a:solidFill>
          <a:latin typeface="+mn-lt"/>
          <a:ea typeface="+mn-ea"/>
          <a:cs typeface="+mn-cs"/>
        </a:defRPr>
      </a:lvl6pPr>
      <a:lvl7pPr marL="3657362" algn="l" defTabSz="1219120" rtl="0" eaLnBrk="1" latinLnBrk="0" hangingPunct="1">
        <a:defRPr sz="2400" kern="1200">
          <a:solidFill>
            <a:schemeClr val="tx1"/>
          </a:solidFill>
          <a:latin typeface="+mn-lt"/>
          <a:ea typeface="+mn-ea"/>
          <a:cs typeface="+mn-cs"/>
        </a:defRPr>
      </a:lvl7pPr>
      <a:lvl8pPr marL="4266923" algn="l" defTabSz="1219120" rtl="0" eaLnBrk="1" latinLnBrk="0" hangingPunct="1">
        <a:defRPr sz="2400" kern="1200">
          <a:solidFill>
            <a:schemeClr val="tx1"/>
          </a:solidFill>
          <a:latin typeface="+mn-lt"/>
          <a:ea typeface="+mn-ea"/>
          <a:cs typeface="+mn-cs"/>
        </a:defRPr>
      </a:lvl8pPr>
      <a:lvl9pPr marL="4876483" algn="l" defTabSz="121912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46.xml"/><Relationship Id="rId7" Type="http://schemas.openxmlformats.org/officeDocument/2006/relationships/image" Target="../media/image15.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7.emf"/></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12.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2.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2.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5.png"/><Relationship Id="rId2" Type="http://schemas.openxmlformats.org/officeDocument/2006/relationships/slideLayout" Target="../slideLayouts/slideLayout42.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0.png"/><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2.xml"/><Relationship Id="rId1" Type="http://schemas.openxmlformats.org/officeDocument/2006/relationships/tags" Target="../tags/tag18.xml"/><Relationship Id="rId5" Type="http://schemas.openxmlformats.org/officeDocument/2006/relationships/image" Target="../media/image27.png"/><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2.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2.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2.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2.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2.xml"/><Relationship Id="rId1" Type="http://schemas.openxmlformats.org/officeDocument/2006/relationships/tags" Target="../tags/tag25.xml"/><Relationship Id="rId6" Type="http://schemas.openxmlformats.org/officeDocument/2006/relationships/image" Target="../media/image29.png"/><Relationship Id="rId5" Type="http://schemas.microsoft.com/office/2007/relationships/hdphoto" Target="../media/hdphoto1.wdp"/><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3.xml"/><Relationship Id="rId1" Type="http://schemas.openxmlformats.org/officeDocument/2006/relationships/tags" Target="../tags/tag27.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2.xml"/><Relationship Id="rId1" Type="http://schemas.openxmlformats.org/officeDocument/2006/relationships/tags" Target="../tags/tag28.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7.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29.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28.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8.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0.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29.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1.xml"/><Relationship Id="rId6" Type="http://schemas.openxmlformats.org/officeDocument/2006/relationships/image" Target="../media/image31.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30.png"/><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0.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2.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1.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29.png"/><Relationship Id="rId10" Type="http://schemas.openxmlformats.org/officeDocument/2006/relationships/image" Target="../media/image35.png"/><Relationship Id="rId4" Type="http://schemas.openxmlformats.org/officeDocument/2006/relationships/image" Target="../media/image30.png"/><Relationship Id="rId9" Type="http://schemas.microsoft.com/office/2007/relationships/hdphoto" Target="../media/hdphoto1.wdp"/></Relationships>
</file>

<file path=ppt/slides/_rels/slide3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32.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4.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 Id="rId9" Type="http://schemas.openxmlformats.org/officeDocument/2006/relationships/image" Target="../media/image36.png"/></Relationships>
</file>

<file path=ppt/slides/_rels/slide33.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3.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5.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4.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4.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6.xml"/><Relationship Id="rId6" Type="http://schemas.openxmlformats.org/officeDocument/2006/relationships/image" Target="../media/image31.png"/><Relationship Id="rId11" Type="http://schemas.openxmlformats.org/officeDocument/2006/relationships/image" Target="../media/image37.jpe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3.xml"/><Relationship Id="rId1" Type="http://schemas.openxmlformats.org/officeDocument/2006/relationships/tags" Target="../tags/tag37.xml"/><Relationship Id="rId5" Type="http://schemas.openxmlformats.org/officeDocument/2006/relationships/image" Target="../media/image38.png"/><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6.xml"/><Relationship Id="rId7" Type="http://schemas.openxmlformats.org/officeDocument/2006/relationships/image" Target="../media/image33.emf"/><Relationship Id="rId2" Type="http://schemas.openxmlformats.org/officeDocument/2006/relationships/slideLayout" Target="../slideLayouts/slideLayout53.xml"/><Relationship Id="rId1" Type="http://schemas.openxmlformats.org/officeDocument/2006/relationships/tags" Target="../tags/tag38.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30.png"/><Relationship Id="rId9" Type="http://schemas.microsoft.com/office/2007/relationships/hdphoto" Target="../media/hdphoto1.wd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2.xml"/><Relationship Id="rId1" Type="http://schemas.openxmlformats.org/officeDocument/2006/relationships/tags" Target="../tags/tag39.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2.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2.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2.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2.xml"/><Relationship Id="rId1" Type="http://schemas.openxmlformats.org/officeDocument/2006/relationships/tags" Target="../tags/tag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2.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2.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2.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2.xml"/><Relationship Id="rId1" Type="http://schemas.openxmlformats.org/officeDocument/2006/relationships/tags" Target="../tags/tag4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2.xml"/><Relationship Id="rId1" Type="http://schemas.openxmlformats.org/officeDocument/2006/relationships/tags" Target="../tags/tag4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2.xml"/><Relationship Id="rId1" Type="http://schemas.openxmlformats.org/officeDocument/2006/relationships/tags" Target="../tags/tag4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2.xml"/><Relationship Id="rId1" Type="http://schemas.openxmlformats.org/officeDocument/2006/relationships/tags" Target="../tags/tag49.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2.xml"/><Relationship Id="rId1" Type="http://schemas.openxmlformats.org/officeDocument/2006/relationships/tags" Target="../tags/tag5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2.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2.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2.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2.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2.xml"/><Relationship Id="rId1" Type="http://schemas.openxmlformats.org/officeDocument/2006/relationships/tags" Target="../tags/tag55.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2.xml"/><Relationship Id="rId1" Type="http://schemas.openxmlformats.org/officeDocument/2006/relationships/tags" Target="../tags/tag57.xml"/></Relationships>
</file>

<file path=ppt/slides/_rels/slide56.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notesSlide" Target="../notesSlides/notesSlide56.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58.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2.xml"/><Relationship Id="rId1" Type="http://schemas.openxmlformats.org/officeDocument/2006/relationships/tags" Target="../tags/tag59.xml"/><Relationship Id="rId4" Type="http://schemas.openxmlformats.org/officeDocument/2006/relationships/hyperlink" Target="https://github.com/Microsoft/DWScripter"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58.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60.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2.xml"/><Relationship Id="rId1" Type="http://schemas.openxmlformats.org/officeDocument/2006/relationships/tags" Target="../tags/tag61.xml"/><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2.xml"/><Relationship Id="rId1" Type="http://schemas.openxmlformats.org/officeDocument/2006/relationships/tags" Target="../tags/tag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2.xml"/><Relationship Id="rId1" Type="http://schemas.openxmlformats.org/officeDocument/2006/relationships/tags" Target="../tags/tag6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42.emf"/><Relationship Id="rId2" Type="http://schemas.openxmlformats.org/officeDocument/2006/relationships/slideLayout" Target="../slideLayouts/slideLayout42.xml"/><Relationship Id="rId1" Type="http://schemas.openxmlformats.org/officeDocument/2006/relationships/tags" Target="../tags/tag63.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39.jp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2.xml"/><Relationship Id="rId1" Type="http://schemas.openxmlformats.org/officeDocument/2006/relationships/tags" Target="../tags/tag64.xml"/><Relationship Id="rId4" Type="http://schemas.openxmlformats.org/officeDocument/2006/relationships/image" Target="../media/image43.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2.xml"/><Relationship Id="rId1" Type="http://schemas.openxmlformats.org/officeDocument/2006/relationships/tags" Target="../tags/tag6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2.xml"/><Relationship Id="rId1" Type="http://schemas.openxmlformats.org/officeDocument/2006/relationships/tags" Target="../tags/tag66.xml"/><Relationship Id="rId5" Type="http://schemas.openxmlformats.org/officeDocument/2006/relationships/image" Target="../media/image45.emf"/><Relationship Id="rId4" Type="http://schemas.openxmlformats.org/officeDocument/2006/relationships/image" Target="../media/image44.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21.emf"/><Relationship Id="rId2" Type="http://schemas.openxmlformats.org/officeDocument/2006/relationships/slideLayout" Target="../slideLayouts/slideLayout42.xml"/><Relationship Id="rId1" Type="http://schemas.openxmlformats.org/officeDocument/2006/relationships/tags" Target="../tags/tag67.xml"/><Relationship Id="rId6" Type="http://schemas.openxmlformats.org/officeDocument/2006/relationships/image" Target="../media/image42.emf"/><Relationship Id="rId5" Type="http://schemas.openxmlformats.org/officeDocument/2006/relationships/image" Target="../media/image19.emf"/><Relationship Id="rId4" Type="http://schemas.openxmlformats.org/officeDocument/2006/relationships/image" Target="../media/image39.jp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2.xml"/><Relationship Id="rId1" Type="http://schemas.openxmlformats.org/officeDocument/2006/relationships/tags" Target="../tags/tag6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42.xml"/><Relationship Id="rId1" Type="http://schemas.openxmlformats.org/officeDocument/2006/relationships/tags" Target="../tags/tag69.xml"/><Relationship Id="rId6" Type="http://schemas.openxmlformats.org/officeDocument/2006/relationships/image" Target="../media/image46.png"/><Relationship Id="rId5" Type="http://schemas.openxmlformats.org/officeDocument/2006/relationships/image" Target="../media/image21.emf"/><Relationship Id="rId4" Type="http://schemas.openxmlformats.org/officeDocument/2006/relationships/image" Target="../media/image20.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2.xml"/><Relationship Id="rId1" Type="http://schemas.openxmlformats.org/officeDocument/2006/relationships/tags" Target="../tags/tag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47.png"/><Relationship Id="rId2" Type="http://schemas.openxmlformats.org/officeDocument/2006/relationships/slideLayout" Target="../slideLayouts/slideLayout42.xml"/><Relationship Id="rId1" Type="http://schemas.openxmlformats.org/officeDocument/2006/relationships/tags" Target="../tags/tag71.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2.xml"/><Relationship Id="rId1" Type="http://schemas.openxmlformats.org/officeDocument/2006/relationships/tags" Target="../tags/tag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42.xml"/><Relationship Id="rId1" Type="http://schemas.openxmlformats.org/officeDocument/2006/relationships/tags" Target="../tags/tag7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2.xml"/><Relationship Id="rId1" Type="http://schemas.openxmlformats.org/officeDocument/2006/relationships/tags" Target="../tags/tag7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42.xml"/><Relationship Id="rId1" Type="http://schemas.openxmlformats.org/officeDocument/2006/relationships/tags" Target="../tags/tag7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42.xml"/><Relationship Id="rId1" Type="http://schemas.openxmlformats.org/officeDocument/2006/relationships/tags" Target="../tags/tag75.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42.xml"/><Relationship Id="rId1" Type="http://schemas.openxmlformats.org/officeDocument/2006/relationships/tags" Target="../tags/tag76.xml"/></Relationships>
</file>

<file path=ppt/slides/_rels/slide7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75.xml"/><Relationship Id="rId7" Type="http://schemas.openxmlformats.org/officeDocument/2006/relationships/image" Target="../media/image29.png"/><Relationship Id="rId2" Type="http://schemas.openxmlformats.org/officeDocument/2006/relationships/slideLayout" Target="../slideLayouts/slideLayout42.xml"/><Relationship Id="rId1" Type="http://schemas.openxmlformats.org/officeDocument/2006/relationships/tags" Target="../tags/tag77.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42.xml"/><Relationship Id="rId1" Type="http://schemas.openxmlformats.org/officeDocument/2006/relationships/tags" Target="../tags/tag7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42.xml"/><Relationship Id="rId1" Type="http://schemas.openxmlformats.org/officeDocument/2006/relationships/tags" Target="../tags/tag79.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2.xml"/><Relationship Id="rId1" Type="http://schemas.openxmlformats.org/officeDocument/2006/relationships/tags" Target="../tags/tag8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42.xml"/><Relationship Id="rId1" Type="http://schemas.openxmlformats.org/officeDocument/2006/relationships/tags" Target="../tags/tag8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10.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2.xml"/><Relationship Id="rId1" Type="http://schemas.openxmlformats.org/officeDocument/2006/relationships/tags" Target="../tags/tag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42.xml"/><Relationship Id="rId1" Type="http://schemas.openxmlformats.org/officeDocument/2006/relationships/tags" Target="../tags/tag8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49598" y="2519347"/>
            <a:ext cx="8227635" cy="933791"/>
          </a:xfrm>
        </p:spPr>
        <p:txBody>
          <a:bodyPr/>
          <a:lstStyle/>
          <a:p>
            <a:r>
              <a:rPr lang="en-IN" sz="5400">
                <a:solidFill>
                  <a:schemeClr val="bg1"/>
                </a:solidFill>
              </a:rPr>
              <a:t>APS to SQLDW Migration</a:t>
            </a:r>
            <a:endParaRPr lang="en-US" sz="540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5" name="Subtitle 2"/>
          <p:cNvSpPr txBox="1">
            <a:spLocks/>
          </p:cNvSpPr>
          <p:nvPr/>
        </p:nvSpPr>
        <p:spPr>
          <a:xfrm>
            <a:off x="386742" y="3537426"/>
            <a:ext cx="7025451" cy="1655762"/>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3600" b="0" i="0" u="none" strike="noStrike" kern="1200" cap="none" spc="0" normalizeH="0" baseline="0" noProof="0">
              <a:ln>
                <a:noFill/>
              </a:ln>
              <a:solidFill>
                <a:srgbClr val="FFFFFF"/>
              </a:solidFill>
              <a:effectLst/>
              <a:uLnTx/>
              <a:uFillTx/>
              <a:latin typeface="Segoe UI Light"/>
              <a:ea typeface="ＭＳ Ｐゴシック" charset="0"/>
            </a:endParaRPr>
          </a:p>
        </p:txBody>
      </p:sp>
      <p:sp>
        <p:nvSpPr>
          <p:cNvPr id="294" name="Title 3">
            <a:extLst>
              <a:ext uri="{FF2B5EF4-FFF2-40B4-BE49-F238E27FC236}">
                <a16:creationId xmlns:a16="http://schemas.microsoft.com/office/drawing/2014/main" id="{EDE5BC1E-0379-441A-8319-E0A16B956BB6}"/>
              </a:ext>
            </a:extLst>
          </p:cNvPr>
          <p:cNvSpPr txBox="1">
            <a:spLocks/>
          </p:cNvSpPr>
          <p:nvPr/>
        </p:nvSpPr>
        <p:spPr>
          <a:xfrm>
            <a:off x="94624" y="3477275"/>
            <a:ext cx="8227635" cy="933791"/>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400" b="0" i="0" u="none" strike="noStrike" kern="1200" cap="none" spc="-100" normalizeH="0" baseline="0" noProof="0">
                <a:ln w="3175">
                  <a:noFill/>
                </a:ln>
                <a:solidFill>
                  <a:srgbClr val="FFFFFF"/>
                </a:solidFill>
                <a:effectLst/>
                <a:uLnTx/>
                <a:uFillTx/>
                <a:latin typeface="Segoe UI Light"/>
                <a:ea typeface="ＭＳ Ｐゴシック" charset="0"/>
                <a:cs typeface="Segoe UI" pitchFamily="34" charset="0"/>
              </a:rPr>
              <a:t>Process and Tools</a:t>
            </a:r>
          </a:p>
        </p:txBody>
      </p:sp>
      <p:sp>
        <p:nvSpPr>
          <p:cNvPr id="307" name="Text Placeholder 4">
            <a:extLst>
              <a:ext uri="{FF2B5EF4-FFF2-40B4-BE49-F238E27FC236}">
                <a16:creationId xmlns:a16="http://schemas.microsoft.com/office/drawing/2014/main" id="{20708371-FF72-42C8-8352-A13F652E0C01}"/>
              </a:ext>
            </a:extLst>
          </p:cNvPr>
          <p:cNvSpPr txBox="1">
            <a:spLocks/>
          </p:cNvSpPr>
          <p:nvPr/>
        </p:nvSpPr>
        <p:spPr>
          <a:xfrm>
            <a:off x="127204" y="4665355"/>
            <a:ext cx="7171337" cy="1792326"/>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dirty="0"/>
              <a:t>Prepared by Microsoft</a:t>
            </a:r>
          </a:p>
          <a:p>
            <a:pPr marL="0" indent="0">
              <a:buNone/>
            </a:pPr>
            <a:r>
              <a:rPr lang="en-US" dirty="0"/>
              <a:t>Last Update: November, 2018</a:t>
            </a:r>
          </a:p>
          <a:p>
            <a:pPr marL="0" indent="0">
              <a:buNone/>
            </a:pPr>
            <a:r>
              <a:rPr lang="en-US" sz="2800" dirty="0"/>
              <a:t>Initial Release: August, 2018</a:t>
            </a:r>
          </a:p>
        </p:txBody>
      </p:sp>
    </p:spTree>
    <p:extLst>
      <p:ext uri="{BB962C8B-B14F-4D97-AF65-F5344CB8AC3E}">
        <p14:creationId xmlns:p14="http://schemas.microsoft.com/office/powerpoint/2010/main" val="35401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 Pre-Assessment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VS Script Config File</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ea typeface="+mn-ea"/>
                <a:cs typeface="+mn-cs"/>
              </a:rPr>
              <a:t>PreAssessmentDriver.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ea typeface="+mn-ea"/>
                <a:cs typeface="+mn-cs"/>
              </a:rPr>
              <a:t>Prompts for several items</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9193653" y="3855398"/>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Output.csv</a:t>
            </a: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5798806" y="3797828"/>
            <a:ext cx="3359035" cy="646331"/>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RunSQLStatementExportCSV.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Segoe UI"/>
                <a:ea typeface="+mn-ea"/>
                <a:cs typeface="+mn-cs"/>
              </a:rPr>
              <a:t>Uses Invoke-SQLCMD to execute the </a:t>
            </a:r>
            <a:r>
              <a:rPr kumimoji="0" lang="en-US" sz="1200" i="0" u="none" strike="noStrike" kern="0" cap="none" spc="0" normalizeH="0" baseline="0" noProof="0" err="1">
                <a:ln>
                  <a:noFill/>
                </a:ln>
                <a:solidFill>
                  <a:srgbClr val="292929"/>
                </a:solidFill>
                <a:effectLst/>
                <a:uLnTx/>
                <a:uFillTx/>
                <a:latin typeface="Segoe UI"/>
                <a:ea typeface="+mn-ea"/>
                <a:cs typeface="+mn-cs"/>
              </a:rPr>
              <a:t>sql</a:t>
            </a:r>
            <a:r>
              <a:rPr kumimoji="0" lang="en-US" sz="1200" i="0" u="none" strike="noStrike" kern="0" cap="none" spc="0" normalizeH="0" baseline="0" noProof="0">
                <a:ln>
                  <a:noFill/>
                </a:ln>
                <a:solidFill>
                  <a:srgbClr val="292929"/>
                </a:solidFill>
                <a:effectLst/>
                <a:uLnTx/>
                <a:uFillTx/>
                <a:latin typeface="Segoe UI"/>
                <a:ea typeface="+mn-ea"/>
                <a:cs typeface="+mn-cs"/>
              </a:rPr>
              <a:t> statement</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7" y="2233564"/>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PDW)</a:t>
            </a:r>
          </a:p>
        </p:txBody>
      </p:sp>
      <p:pic>
        <p:nvPicPr>
          <p:cNvPr id="4" name="Picture 3">
            <a:extLst>
              <a:ext uri="{FF2B5EF4-FFF2-40B4-BE49-F238E27FC236}">
                <a16:creationId xmlns:a16="http://schemas.microsoft.com/office/drawing/2014/main" id="{7725619D-7BF3-4E28-A4F7-C2F790C40FF1}"/>
              </a:ext>
            </a:extLst>
          </p:cNvPr>
          <p:cNvPicPr>
            <a:picLocks noChangeAspect="1"/>
          </p:cNvPicPr>
          <p:nvPr/>
        </p:nvPicPr>
        <p:blipFill>
          <a:blip r:embed="rId8"/>
          <a:stretch>
            <a:fillRect/>
          </a:stretch>
        </p:blipFill>
        <p:spPr>
          <a:xfrm>
            <a:off x="1903041" y="4450030"/>
            <a:ext cx="8791575" cy="1885950"/>
          </a:xfrm>
          <a:prstGeom prst="rect">
            <a:avLst/>
          </a:prstGeom>
        </p:spPr>
      </p:pic>
      <p:sp>
        <p:nvSpPr>
          <p:cNvPr id="51" name="Speech Bubble: Rectangle 50">
            <a:extLst>
              <a:ext uri="{FF2B5EF4-FFF2-40B4-BE49-F238E27FC236}">
                <a16:creationId xmlns:a16="http://schemas.microsoft.com/office/drawing/2014/main" id="{12107BF8-FF65-49F7-B19C-A80068D273C3}"/>
              </a:ext>
            </a:extLst>
          </p:cNvPr>
          <p:cNvSpPr/>
          <p:nvPr/>
        </p:nvSpPr>
        <p:spPr>
          <a:xfrm>
            <a:off x="290374" y="5165045"/>
            <a:ext cx="1330391" cy="631376"/>
          </a:xfrm>
          <a:prstGeom prst="wedgeRectCallout">
            <a:avLst>
              <a:gd name="adj1" fmla="val 94643"/>
              <a:gd name="adj2" fmla="val -122971"/>
            </a:avLst>
          </a:prstGeom>
          <a:solidFill>
            <a:srgbClr val="FFFFFF"/>
          </a:solidFill>
          <a:ln w="25400" cap="flat" cmpd="sng" algn="ctr">
            <a:solidFill>
              <a:srgbClr val="5191CD">
                <a:shade val="50000"/>
              </a:srgbClr>
            </a:solidFill>
            <a:prstDash val="solid"/>
          </a:ln>
          <a:effectLst/>
        </p:spPr>
        <p:txBody>
          <a:bodyPr rtlCol="0" anchor="ct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Tree>
    <p:extLst>
      <p:ext uri="{BB962C8B-B14F-4D97-AF65-F5344CB8AC3E}">
        <p14:creationId xmlns:p14="http://schemas.microsoft.com/office/powerpoint/2010/main" val="24695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0) Pre-Assessment Confi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603256320"/>
              </p:ext>
            </p:extLst>
          </p:nvPr>
        </p:nvGraphicFramePr>
        <p:xfrm>
          <a:off x="976955" y="2118897"/>
          <a:ext cx="10528779" cy="3780408"/>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RunForEachDB</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DB on the APS and run the SQL Statement. </a:t>
                      </a:r>
                      <a:r>
                        <a:rPr lang="en-US" sz="900" b="1"/>
                        <a:t> Currently This does not support running for a single DB.</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a:t>RunForEachTable</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Table int eh DB and run the SQL Statement. </a:t>
                      </a:r>
                      <a:r>
                        <a:rPr lang="en-US" sz="900" b="1"/>
                        <a:t> Currently This does not support running for a single Table.</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a:t>DBCCStatement</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dentifies if the statement is a dbcc command.  </a:t>
                      </a:r>
                      <a:r>
                        <a:rPr lang="en-US" sz="900" b="1"/>
                        <a:t>Currently this only supports pdw_Showspaceused.</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a:t>ExportFilename</a:t>
                      </a:r>
                    </a:p>
                  </a:txBody>
                  <a:tcPr marL="121920" marR="121920" marT="60960" marB="60960" anchor="ctr"/>
                </a:tc>
                <a:tc>
                  <a:txBody>
                    <a:bodyPr/>
                    <a:lstStyle/>
                    <a:p>
                      <a:r>
                        <a:rPr lang="en-US" sz="900"/>
                        <a:t>Name of the output file to save the sql statement results.  Datetime will be added to the end of the filename along with .csv.</a:t>
                      </a:r>
                    </a:p>
                  </a:txBody>
                  <a:tcPr marL="121920" marR="121920" marT="60960" marB="60960" anchor="ctr"/>
                </a:tc>
                <a:tc>
                  <a:txBody>
                    <a:bodyPr/>
                    <a:lstStyle/>
                    <a:p>
                      <a:r>
                        <a:rPr lang="en-US" sz="900"/>
                        <a:t>ObjectCount</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SQLStatement</a:t>
                      </a:r>
                    </a:p>
                  </a:txBody>
                  <a:tcPr marL="121920" marR="121920" marT="60960" marB="60960" anchor="ctr"/>
                </a:tc>
                <a:tc>
                  <a:txBody>
                    <a:bodyPr/>
                    <a:lstStyle/>
                    <a:p>
                      <a:r>
                        <a:rPr lang="en-US" sz="900"/>
                        <a:t>SQL Statement to run</a:t>
                      </a:r>
                    </a:p>
                  </a:txBody>
                  <a:tcPr marL="121920" marR="121920" marT="60960" marB="60960" anchor="ctr"/>
                </a:tc>
                <a:tc>
                  <a:txBody>
                    <a:bodyPr/>
                    <a:lstStyle/>
                    <a:p>
                      <a:r>
                        <a:rPr lang="en-US" sz="900" kern="1200" dirty="0">
                          <a:solidFill>
                            <a:schemeClr val="dk1"/>
                          </a:solidFill>
                          <a:latin typeface="+mn-lt"/>
                          <a:ea typeface="+mn-ea"/>
                          <a:cs typeface="+mn-cs"/>
                        </a:rPr>
                        <a:t>Any SQL statement is valid at the table or DB level. However, inside the T-SQL Statements where APS server name is specified: Declare @</a:t>
                      </a:r>
                      <a:r>
                        <a:rPr lang="en-US" sz="900" kern="1200" dirty="0" err="1">
                          <a:solidFill>
                            <a:schemeClr val="dk1"/>
                          </a:solidFill>
                          <a:latin typeface="+mn-lt"/>
                          <a:ea typeface="+mn-ea"/>
                          <a:cs typeface="+mn-cs"/>
                        </a:rPr>
                        <a:t>ServerName</a:t>
                      </a:r>
                      <a:r>
                        <a:rPr lang="en-US" sz="900" kern="1200" dirty="0">
                          <a:solidFill>
                            <a:schemeClr val="dk1"/>
                          </a:solidFill>
                          <a:latin typeface="+mn-lt"/>
                          <a:ea typeface="+mn-ea"/>
                          <a:cs typeface="+mn-cs"/>
                        </a:rPr>
                        <a:t> varchar(50)= ‘10.###.222.###’, the masked IP address needs to be replaced with the actual APS IP Address or APS server name.</a:t>
                      </a:r>
                    </a:p>
                  </a:txBody>
                  <a:tcPr marL="121920" marR="121920" marT="60960" marB="60960" anchor="ctr"/>
                </a:tc>
                <a:extLst>
                  <a:ext uri="{0D108BD9-81ED-4DB2-BD59-A6C34878D82A}">
                    <a16:rowId xmlns:a16="http://schemas.microsoft.com/office/drawing/2014/main" val="3422728516"/>
                  </a:ext>
                </a:extLst>
              </a:tr>
            </a:tbl>
          </a:graphicData>
        </a:graphic>
      </p:graphicFrame>
      <p:sp>
        <p:nvSpPr>
          <p:cNvPr id="2" name="Rectangle 1">
            <a:extLst>
              <a:ext uri="{FF2B5EF4-FFF2-40B4-BE49-F238E27FC236}">
                <a16:creationId xmlns:a16="http://schemas.microsoft.com/office/drawing/2014/main" id="{C74AD3CA-8142-40D2-AB8D-D3DFC44CB2D8}"/>
              </a:ext>
            </a:extLst>
          </p:cNvPr>
          <p:cNvSpPr/>
          <p:nvPr/>
        </p:nvSpPr>
        <p:spPr>
          <a:xfrm>
            <a:off x="976954" y="1074441"/>
            <a:ext cx="9438062" cy="646331"/>
          </a:xfrm>
          <a:prstGeom prst="rect">
            <a:avLst/>
          </a:prstGeom>
        </p:spPr>
        <p:txBody>
          <a:bodyPr wrap="square">
            <a:spAutoFit/>
          </a:bodyPr>
          <a:lstStyle/>
          <a:p>
            <a:r>
              <a:rPr lang="en-US" dirty="0">
                <a:gradFill>
                  <a:gsLst>
                    <a:gs pos="0">
                      <a:srgbClr val="292929"/>
                    </a:gs>
                    <a:gs pos="86000">
                      <a:srgbClr val="292929"/>
                    </a:gs>
                  </a:gsLst>
                  <a:lin ang="5400000" scaled="0"/>
                </a:gradFill>
              </a:rPr>
              <a:t>1. Create configuration CSV File config files the PreAssessment.ps1 program.  This is a CSV file containing the following columns:</a:t>
            </a:r>
            <a:endParaRPr lang="en-US" dirty="0"/>
          </a:p>
        </p:txBody>
      </p:sp>
    </p:spTree>
    <p:extLst>
      <p:ext uri="{BB962C8B-B14F-4D97-AF65-F5344CB8AC3E}">
        <p14:creationId xmlns:p14="http://schemas.microsoft.com/office/powerpoint/2010/main" val="218669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Pre-Assessment</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PreAssessmentDriver.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name of the SQLScriptToRun.csv File.”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config File SQLScriptToRun.csv.</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0_PreAssessment\SQLScriptToRun.csv</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of the Output File Directory.” </a:t>
            </a:r>
            <a:r>
              <a:rPr lang="en-US" sz="1333" dirty="0">
                <a:gradFill>
                  <a:gsLst>
                    <a:gs pos="0">
                      <a:srgbClr val="000000"/>
                    </a:gs>
                    <a:gs pos="86000">
                      <a:srgbClr val="000000"/>
                    </a:gs>
                  </a:gsLst>
                  <a:lin ang="5400000" scaled="0"/>
                </a:gradFill>
                <a:latin typeface="Segoe UI"/>
              </a:rPr>
              <a:t>– This will be the location all result/output files are sent to</a:t>
            </a:r>
          </a:p>
          <a:p>
            <a:pPr lvl="4"/>
            <a:r>
              <a:rPr lang="en-US" sz="1100" dirty="0">
                <a:gradFill>
                  <a:gsLst>
                    <a:gs pos="0">
                      <a:srgbClr val="292929"/>
                    </a:gs>
                    <a:gs pos="86000">
                      <a:srgbClr val="292929"/>
                    </a:gs>
                  </a:gsLst>
                  <a:lin ang="5400000" scaled="0"/>
                </a:gradFill>
              </a:rPr>
              <a:t>Default: </a:t>
            </a:r>
            <a:r>
              <a:rPr lang="en-US" sz="1100" dirty="0">
                <a:gradFill>
                  <a:gsLst>
                    <a:gs pos="0">
                      <a:srgbClr val="292929"/>
                    </a:gs>
                    <a:gs pos="86000">
                      <a:srgbClr val="292929"/>
                    </a:gs>
                  </a:gsLst>
                  <a:lin ang="5400000" scaled="0"/>
                </a:gradFill>
                <a:latin typeface="Segoe UI"/>
              </a:rPr>
              <a:t>C:\APSPreAssessment\Output\0_PreAssessment</a:t>
            </a:r>
            <a:endPar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Server”</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This is the APS server you are wanting to connect to:  “aps,17001”  or “APS Server IP Address, 17001” </a:t>
            </a: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Yes’ to connect using Integrated security, </a:t>
            </a:r>
            <a:r>
              <a:rPr lang="en-US" sz="1400" b="1" dirty="0"/>
              <a:t>otherwise Enter 'No'</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r>
              <a:rPr lang="en-US" sz="1066" dirty="0">
                <a:gradFill>
                  <a:gsLst>
                    <a:gs pos="0">
                      <a:srgbClr val="000000"/>
                    </a:gs>
                    <a:gs pos="86000">
                      <a:srgbClr val="000000"/>
                    </a:gs>
                  </a:gsLst>
                  <a:lin ang="5400000" scaled="0"/>
                </a:gradFill>
                <a:latin typeface="Segoe UI"/>
              </a:rPr>
              <a:t>Allows YES or No</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If No to last question, </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User Name if not using Integrate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User name with permission run the scripts</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DW Passwor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Enter the Password for the user – reads password as a secure string</a:t>
            </a:r>
          </a:p>
        </p:txBody>
      </p:sp>
    </p:spTree>
    <p:extLst>
      <p:ext uri="{BB962C8B-B14F-4D97-AF65-F5344CB8AC3E}">
        <p14:creationId xmlns:p14="http://schemas.microsoft.com/office/powerpoint/2010/main" val="231030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Scoping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1970D782-13ED-48D1-82C7-0236E9521D7F}"/>
              </a:ext>
            </a:extLst>
          </p:cNvPr>
          <p:cNvSpPr txBox="1"/>
          <p:nvPr/>
        </p:nvSpPr>
        <p:spPr>
          <a:xfrm>
            <a:off x="205464" y="1036808"/>
            <a:ext cx="11781070" cy="3607078"/>
          </a:xfrm>
          <a:prstGeom prst="rect">
            <a:avLst/>
          </a:prstGeom>
          <a:noFill/>
        </p:spPr>
        <p:txBody>
          <a:bodyPr wrap="square" lIns="182880" tIns="91440"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The results of the Pre-Assessment can be used to assist in scoping the APS migration to SQLDW.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The output can be pulled into an Excel PowerPivot model and sliced on the necessary info to give counts and table sizes.</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rerequisite: </a:t>
            </a:r>
            <a:r>
              <a:rPr lang="en-US" b="1" dirty="0"/>
              <a:t>Install-Module </a:t>
            </a:r>
            <a:r>
              <a:rPr lang="en-US" b="1" dirty="0" err="1"/>
              <a:t>ImportExcel</a:t>
            </a:r>
            <a:r>
              <a:rPr lang="en-US" b="1" dirty="0"/>
              <a:t> </a:t>
            </a:r>
            <a:r>
              <a:rPr lang="en-US" dirty="0">
                <a:gradFill>
                  <a:gsLst>
                    <a:gs pos="2917">
                      <a:schemeClr val="tx1"/>
                    </a:gs>
                    <a:gs pos="30000">
                      <a:schemeClr val="tx1"/>
                    </a:gs>
                  </a:gsLst>
                  <a:lin ang="5400000" scaled="0"/>
                </a:gradFill>
              </a:rPr>
              <a:t> (Run the command from a PS command prompt.  Command Prompt must be running as admin)</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ulls the newest files based on date from the Assessment into Excel.  </a:t>
            </a:r>
          </a:p>
          <a:p>
            <a:pPr lvl="0" defTabSz="1219120">
              <a:spcBef>
                <a:spcPts val="800"/>
              </a:spcBef>
              <a:buSzPct val="80000"/>
              <a:defRPr/>
            </a:pPr>
            <a:endParaRPr lang="en-US" sz="1333" dirty="0">
              <a:gradFill>
                <a:gsLst>
                  <a:gs pos="0">
                    <a:srgbClr val="000000"/>
                  </a:gs>
                  <a:gs pos="86000">
                    <a:srgbClr val="000000"/>
                  </a:gs>
                </a:gsLst>
                <a:lin ang="5400000" scaled="0"/>
              </a:gradFill>
            </a:endParaRP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5024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CopyDataToExcel.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Path to the Pre-Assessment output files.”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pre-Assessment output.</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output\0_PreAssessment</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to save excel file.</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defRPr/>
            </a:pPr>
            <a:r>
              <a:rPr lang="en-US" sz="1100" dirty="0">
                <a:gradFill>
                  <a:gsLst>
                    <a:gs pos="0">
                      <a:srgbClr val="292929"/>
                    </a:gs>
                    <a:gs pos="86000">
                      <a:srgbClr val="292929"/>
                    </a:gs>
                  </a:gsLst>
                  <a:lin ang="5400000" scaled="0"/>
                </a:gradFill>
              </a:rPr>
              <a:t>Default: C:\APS2SQLDW\output\0_PreAssessment</a:t>
            </a:r>
            <a:endParaRPr lang="en-US" sz="1067" dirty="0">
              <a:gradFill>
                <a:gsLst>
                  <a:gs pos="0">
                    <a:srgbClr val="000000"/>
                  </a:gs>
                  <a:gs pos="86000">
                    <a:srgbClr val="000000"/>
                  </a:gs>
                </a:gsLst>
                <a:lin ang="5400000" scaled="0"/>
              </a:gradFill>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Excel File”</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re-Assessment.xlsx</a:t>
            </a:r>
          </a:p>
        </p:txBody>
      </p:sp>
    </p:spTree>
    <p:extLst>
      <p:ext uri="{BB962C8B-B14F-4D97-AF65-F5344CB8AC3E}">
        <p14:creationId xmlns:p14="http://schemas.microsoft.com/office/powerpoint/2010/main" val="73149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Scoping</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2492687" y="2188780"/>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Pre-Assessment Output</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3044414" y="1180202"/>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4596" y="1172474"/>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5338284" y="2131211"/>
            <a:ext cx="2398238"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ea typeface="+mn-ea"/>
                <a:cs typeface="+mn-cs"/>
              </a:rPr>
              <a:t>CopyDataToExcel.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rgbClr val="292929"/>
                </a:solidFill>
                <a:effectLst/>
                <a:uLnTx/>
                <a:uFillTx/>
                <a:ea typeface="+mn-ea"/>
                <a:cs typeface="+mn-cs"/>
              </a:rPr>
              <a:t>Prompts for several items</a:t>
            </a:r>
          </a:p>
        </p:txBody>
      </p:sp>
      <p:sp>
        <p:nvSpPr>
          <p:cNvPr id="47" name="TextBox 46">
            <a:extLst>
              <a:ext uri="{FF2B5EF4-FFF2-40B4-BE49-F238E27FC236}">
                <a16:creationId xmlns:a16="http://schemas.microsoft.com/office/drawing/2014/main" id="{C44C20F5-FF5A-41E1-AF0F-11ABC362F14A}"/>
              </a:ext>
            </a:extLst>
          </p:cNvPr>
          <p:cNvSpPr txBox="1"/>
          <p:nvPr/>
        </p:nvSpPr>
        <p:spPr>
          <a:xfrm>
            <a:off x="8197794" y="2188781"/>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Pre-Assessment.xlsx</a:t>
            </a:r>
          </a:p>
        </p:txBody>
      </p:sp>
      <p:sp>
        <p:nvSpPr>
          <p:cNvPr id="52" name="Arrow: Right 51">
            <a:extLst>
              <a:ext uri="{FF2B5EF4-FFF2-40B4-BE49-F238E27FC236}">
                <a16:creationId xmlns:a16="http://schemas.microsoft.com/office/drawing/2014/main" id="{F051F300-EC17-4889-A0ED-300D475178C0}"/>
              </a:ext>
            </a:extLst>
          </p:cNvPr>
          <p:cNvSpPr/>
          <p:nvPr/>
        </p:nvSpPr>
        <p:spPr>
          <a:xfrm>
            <a:off x="4125923" y="142323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6836415" y="1402877"/>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 name="Picture 3" descr="A close up of a sign&#10;&#10;Description generated with very high confidence">
            <a:extLst>
              <a:ext uri="{FF2B5EF4-FFF2-40B4-BE49-F238E27FC236}">
                <a16:creationId xmlns:a16="http://schemas.microsoft.com/office/drawing/2014/main" id="{A32ADD9E-8CD3-46C6-A51D-F964F6311F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7794" y="1109814"/>
            <a:ext cx="1008129" cy="1008129"/>
          </a:xfrm>
          <a:prstGeom prst="rect">
            <a:avLst/>
          </a:prstGeom>
        </p:spPr>
      </p:pic>
      <p:pic>
        <p:nvPicPr>
          <p:cNvPr id="25" name="Picture 24">
            <a:extLst>
              <a:ext uri="{FF2B5EF4-FFF2-40B4-BE49-F238E27FC236}">
                <a16:creationId xmlns:a16="http://schemas.microsoft.com/office/drawing/2014/main" id="{4C475742-F7B7-462F-9693-C13009B6E496}"/>
              </a:ext>
            </a:extLst>
          </p:cNvPr>
          <p:cNvPicPr>
            <a:picLocks noChangeAspect="1"/>
          </p:cNvPicPr>
          <p:nvPr/>
        </p:nvPicPr>
        <p:blipFill>
          <a:blip r:embed="rId7"/>
          <a:stretch>
            <a:fillRect/>
          </a:stretch>
        </p:blipFill>
        <p:spPr>
          <a:xfrm>
            <a:off x="6404333" y="2757526"/>
            <a:ext cx="5310932" cy="2908567"/>
          </a:xfrm>
          <a:prstGeom prst="rect">
            <a:avLst/>
          </a:prstGeom>
        </p:spPr>
      </p:pic>
      <p:sp>
        <p:nvSpPr>
          <p:cNvPr id="26" name="TextBox 25">
            <a:extLst>
              <a:ext uri="{FF2B5EF4-FFF2-40B4-BE49-F238E27FC236}">
                <a16:creationId xmlns:a16="http://schemas.microsoft.com/office/drawing/2014/main" id="{0AB17DCD-54A0-473B-9116-007B2D65305E}"/>
              </a:ext>
            </a:extLst>
          </p:cNvPr>
          <p:cNvSpPr txBox="1"/>
          <p:nvPr/>
        </p:nvSpPr>
        <p:spPr>
          <a:xfrm>
            <a:off x="675175" y="2757526"/>
            <a:ext cx="5569811" cy="3120854"/>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utput:</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ingle Excel sheet with 8 tabs.</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ount</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MetaData</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Version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istributions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ntPvt</a:t>
            </a:r>
            <a:r>
              <a:rPr lang="en-US" sz="1400" dirty="0">
                <a:gradFill>
                  <a:gsLst>
                    <a:gs pos="2917">
                      <a:schemeClr val="tx1"/>
                    </a:gs>
                    <a:gs pos="30000">
                      <a:schemeClr val="tx1"/>
                    </a:gs>
                  </a:gsLst>
                  <a:lin ang="5400000" scaled="0"/>
                </a:gradFill>
              </a:rPr>
              <a:t> – Pivot table with Object Coun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Pvt</a:t>
            </a:r>
            <a:r>
              <a:rPr lang="en-US" sz="1400" dirty="0">
                <a:gradFill>
                  <a:gsLst>
                    <a:gs pos="2917">
                      <a:schemeClr val="tx1"/>
                    </a:gs>
                    <a:gs pos="30000">
                      <a:schemeClr val="tx1"/>
                    </a:gs>
                  </a:gsLst>
                  <a:lin ang="5400000" scaled="0"/>
                </a:gradFill>
              </a:rPr>
              <a:t> – Pivot Table with </a:t>
            </a: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SummaryPvt</a:t>
            </a:r>
            <a:r>
              <a:rPr lang="en-US" sz="1400" dirty="0">
                <a:gradFill>
                  <a:gsLst>
                    <a:gs pos="2917">
                      <a:schemeClr val="tx1"/>
                    </a:gs>
                    <a:gs pos="30000">
                      <a:schemeClr val="tx1"/>
                    </a:gs>
                  </a:gsLst>
                  <a:lin ang="5400000" scaled="0"/>
                </a:gradFill>
              </a:rPr>
              <a:t> – Pivot Table with Table Meta Data</a:t>
            </a:r>
          </a:p>
        </p:txBody>
      </p:sp>
    </p:spTree>
    <p:extLst>
      <p:ext uri="{BB962C8B-B14F-4D97-AF65-F5344CB8AC3E}">
        <p14:creationId xmlns:p14="http://schemas.microsoft.com/office/powerpoint/2010/main" val="295084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333" b="0" i="0" u="none" strike="noStrike" kern="1200" cap="none" spc="0" normalizeH="0" baseline="0" noProof="0">
              <a:ln>
                <a:noFill/>
              </a:ln>
              <a:gradFill>
                <a:gsLst>
                  <a:gs pos="0">
                    <a:srgbClr val="000000"/>
                  </a:gs>
                  <a:gs pos="86000">
                    <a:srgbClr val="00000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9854A291-2EB3-47D6-AA1B-D0F29371107F}"/>
              </a:ext>
            </a:extLst>
          </p:cNvPr>
          <p:cNvPicPr>
            <a:picLocks noChangeAspect="1"/>
          </p:cNvPicPr>
          <p:nvPr/>
        </p:nvPicPr>
        <p:blipFill>
          <a:blip r:embed="rId4"/>
          <a:stretch>
            <a:fillRect/>
          </a:stretch>
        </p:blipFill>
        <p:spPr>
          <a:xfrm>
            <a:off x="1289785" y="1076540"/>
            <a:ext cx="9824842" cy="2744183"/>
          </a:xfrm>
          <a:prstGeom prst="rect">
            <a:avLst/>
          </a:prstGeom>
        </p:spPr>
      </p:pic>
      <p:pic>
        <p:nvPicPr>
          <p:cNvPr id="25" name="Picture 24">
            <a:extLst>
              <a:ext uri="{FF2B5EF4-FFF2-40B4-BE49-F238E27FC236}">
                <a16:creationId xmlns:a16="http://schemas.microsoft.com/office/drawing/2014/main" id="{F62E916E-5066-4495-8428-5E530CDFB5A7}"/>
              </a:ext>
            </a:extLst>
          </p:cNvPr>
          <p:cNvPicPr>
            <a:picLocks noChangeAspect="1"/>
          </p:cNvPicPr>
          <p:nvPr/>
        </p:nvPicPr>
        <p:blipFill>
          <a:blip r:embed="rId5"/>
          <a:stretch>
            <a:fillRect/>
          </a:stretch>
        </p:blipFill>
        <p:spPr>
          <a:xfrm>
            <a:off x="5124342" y="4813831"/>
            <a:ext cx="5037271" cy="1801622"/>
          </a:xfrm>
          <a:prstGeom prst="rect">
            <a:avLst/>
          </a:prstGeom>
        </p:spPr>
      </p:pic>
      <p:sp>
        <p:nvSpPr>
          <p:cNvPr id="3" name="Rectangle 2">
            <a:extLst>
              <a:ext uri="{FF2B5EF4-FFF2-40B4-BE49-F238E27FC236}">
                <a16:creationId xmlns:a16="http://schemas.microsoft.com/office/drawing/2014/main" id="{E9DEC043-F05E-4337-9336-1B6947DF21B7}"/>
              </a:ext>
            </a:extLst>
          </p:cNvPr>
          <p:cNvSpPr/>
          <p:nvPr/>
        </p:nvSpPr>
        <p:spPr>
          <a:xfrm>
            <a:off x="528378" y="3987858"/>
            <a:ext cx="6096000" cy="840230"/>
          </a:xfrm>
          <a:prstGeom prst="rect">
            <a:avLst/>
          </a:prstGeom>
        </p:spPr>
        <p:txBody>
          <a:bodyPr>
            <a:spAutoFit/>
          </a:bodyPr>
          <a:lstStyle/>
          <a:p>
            <a:pPr marL="625475" indent="-625475">
              <a:lnSpc>
                <a:spcPct val="90000"/>
              </a:lnSpc>
              <a:spcAft>
                <a:spcPts val="600"/>
              </a:spcAft>
            </a:pPr>
            <a:r>
              <a:rPr lang="en-US">
                <a:gradFill>
                  <a:gsLst>
                    <a:gs pos="2917">
                      <a:schemeClr val="tx1"/>
                    </a:gs>
                    <a:gs pos="30000">
                      <a:schemeClr val="tx1"/>
                    </a:gs>
                  </a:gsLst>
                  <a:lin ang="5400000" scaled="0"/>
                </a:gradFill>
              </a:rPr>
              <a:t>Note: </a:t>
            </a:r>
            <a:r>
              <a:rPr lang="en-US" err="1">
                <a:gradFill>
                  <a:gsLst>
                    <a:gs pos="2917">
                      <a:schemeClr val="tx1"/>
                    </a:gs>
                    <a:gs pos="30000">
                      <a:schemeClr val="tx1"/>
                    </a:gs>
                  </a:gsLst>
                  <a:lin ang="5400000" scaled="0"/>
                </a:gradFill>
              </a:rPr>
              <a:t>ShowspaceUsed</a:t>
            </a:r>
            <a:r>
              <a:rPr lang="en-US">
                <a:gradFill>
                  <a:gsLst>
                    <a:gs pos="2917">
                      <a:schemeClr val="tx1"/>
                    </a:gs>
                    <a:gs pos="30000">
                      <a:schemeClr val="tx1"/>
                    </a:gs>
                  </a:gsLst>
                  <a:lin ang="5400000" scaled="0"/>
                </a:gradFill>
              </a:rPr>
              <a:t> and </a:t>
            </a:r>
            <a:r>
              <a:rPr lang="en-US" err="1">
                <a:gradFill>
                  <a:gsLst>
                    <a:gs pos="2917">
                      <a:schemeClr val="tx1"/>
                    </a:gs>
                    <a:gs pos="30000">
                      <a:schemeClr val="tx1"/>
                    </a:gs>
                  </a:gsLst>
                  <a:lin ang="5400000" scaled="0"/>
                </a:gradFill>
              </a:rPr>
              <a:t>TableMetaData</a:t>
            </a:r>
            <a:r>
              <a:rPr lang="en-US">
                <a:gradFill>
                  <a:gsLst>
                    <a:gs pos="2917">
                      <a:schemeClr val="tx1"/>
                    </a:gs>
                    <a:gs pos="30000">
                      <a:schemeClr val="tx1"/>
                    </a:gs>
                  </a:gsLst>
                  <a:lin ang="5400000" scaled="0"/>
                </a:gradFill>
              </a:rPr>
              <a:t> can be joined together on </a:t>
            </a:r>
            <a:r>
              <a:rPr lang="en-US" err="1">
                <a:gradFill>
                  <a:gsLst>
                    <a:gs pos="2917">
                      <a:schemeClr val="tx1"/>
                    </a:gs>
                    <a:gs pos="30000">
                      <a:schemeClr val="tx1"/>
                    </a:gs>
                  </a:gsLst>
                  <a:lin ang="5400000" scaled="0"/>
                </a:gradFill>
              </a:rPr>
              <a:t>RowKey</a:t>
            </a:r>
            <a:r>
              <a:rPr lang="en-US">
                <a:gradFill>
                  <a:gsLst>
                    <a:gs pos="2917">
                      <a:schemeClr val="tx1"/>
                    </a:gs>
                    <a:gs pos="30000">
                      <a:schemeClr val="tx1"/>
                    </a:gs>
                  </a:gsLst>
                  <a:lin ang="5400000" scaled="0"/>
                </a:gradFill>
              </a:rPr>
              <a:t>.  In Excel, go to the data tab and select relationships and click add.  </a:t>
            </a:r>
          </a:p>
        </p:txBody>
      </p:sp>
    </p:spTree>
    <p:extLst>
      <p:ext uri="{BB962C8B-B14F-4D97-AF65-F5344CB8AC3E}">
        <p14:creationId xmlns:p14="http://schemas.microsoft.com/office/powerpoint/2010/main" val="8898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2"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22857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PS v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zure DW</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9600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3D78D-DFAD-4CA4-956C-E181E6F0FD8B}"/>
              </a:ext>
            </a:extLst>
          </p:cNvPr>
          <p:cNvSpPr/>
          <p:nvPr/>
        </p:nvSpPr>
        <p:spPr>
          <a:xfrm>
            <a:off x="319731" y="1054447"/>
            <a:ext cx="11569567" cy="56447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Box 5"/>
          <p:cNvSpPr txBox="1">
            <a:spLocks noChangeArrowheads="1"/>
          </p:cNvSpPr>
          <p:nvPr/>
        </p:nvSpPr>
        <p:spPr bwMode="auto">
          <a:xfrm>
            <a:off x="884831" y="1127892"/>
            <a:ext cx="7716773" cy="58296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CREATE TABLE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yTable</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column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Defs</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a:t>
            </a:r>
            <a:b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b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WITH ( DISTRIBUTION = HASH (id));</a:t>
            </a:r>
          </a:p>
        </p:txBody>
      </p:sp>
      <p:sp>
        <p:nvSpPr>
          <p:cNvPr id="65" name="Text Box 6"/>
          <p:cNvSpPr txBox="1">
            <a:spLocks noChangeArrowheads="1"/>
          </p:cNvSpPr>
          <p:nvPr/>
        </p:nvSpPr>
        <p:spPr bwMode="auto">
          <a:xfrm>
            <a:off x="1490396" y="1811319"/>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76" name="Elbow Connector 75"/>
          <p:cNvCxnSpPr>
            <a:stCxn id="4" idx="1"/>
            <a:endCxn id="65" idx="1"/>
          </p:cNvCxnSpPr>
          <p:nvPr/>
        </p:nvCxnSpPr>
        <p:spPr>
          <a:xfrm rot="10800000" flipH="1" flipV="1">
            <a:off x="884831" y="1419372"/>
            <a:ext cx="605565" cy="1065914"/>
          </a:xfrm>
          <a:prstGeom prst="bentConnector3">
            <a:avLst>
              <a:gd name="adj1" fmla="val -37008"/>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24" name="Text Box 40"/>
          <p:cNvSpPr txBox="1">
            <a:spLocks noChangeArrowheads="1"/>
          </p:cNvSpPr>
          <p:nvPr/>
        </p:nvSpPr>
        <p:spPr bwMode="auto">
          <a:xfrm>
            <a:off x="5710635" y="2433535"/>
            <a:ext cx="2002536" cy="400110"/>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 tables per node</a:t>
            </a:r>
          </a:p>
        </p:txBody>
      </p:sp>
      <p:sp>
        <p:nvSpPr>
          <p:cNvPr id="26" name="AutoShape 39"/>
          <p:cNvSpPr>
            <a:spLocks/>
          </p:cNvSpPr>
          <p:nvPr/>
        </p:nvSpPr>
        <p:spPr bwMode="auto">
          <a:xfrm>
            <a:off x="5385158" y="2205834"/>
            <a:ext cx="272531" cy="789015"/>
          </a:xfrm>
          <a:prstGeom prst="rightBrace">
            <a:avLst>
              <a:gd name="adj1" fmla="val 50000"/>
              <a:gd name="adj2" fmla="val 50000"/>
            </a:avLst>
          </a:prstGeom>
          <a:noFill/>
          <a:ln w="25400">
            <a:solidFill>
              <a:srgbClr val="FFFF00"/>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9" name="Text Box 6"/>
          <p:cNvSpPr txBox="1">
            <a:spLocks noChangeArrowheads="1"/>
          </p:cNvSpPr>
          <p:nvPr/>
        </p:nvSpPr>
        <p:spPr bwMode="auto">
          <a:xfrm>
            <a:off x="1911794" y="3232782"/>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sp>
        <p:nvSpPr>
          <p:cNvPr id="40" name="Text Box 6"/>
          <p:cNvSpPr txBox="1">
            <a:spLocks noChangeArrowheads="1"/>
          </p:cNvSpPr>
          <p:nvPr/>
        </p:nvSpPr>
        <p:spPr bwMode="auto">
          <a:xfrm>
            <a:off x="2657584" y="5129585"/>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41" name="Elbow Connector 40"/>
          <p:cNvCxnSpPr>
            <a:stCxn id="4" idx="1"/>
            <a:endCxn id="39" idx="1"/>
          </p:cNvCxnSpPr>
          <p:nvPr/>
        </p:nvCxnSpPr>
        <p:spPr>
          <a:xfrm rot="10800000" flipH="1" flipV="1">
            <a:off x="884831" y="1419372"/>
            <a:ext cx="1026963" cy="2487377"/>
          </a:xfrm>
          <a:prstGeom prst="bentConnector3">
            <a:avLst>
              <a:gd name="adj1" fmla="val -2182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2" name="Elbow Connector 41"/>
          <p:cNvCxnSpPr>
            <a:stCxn id="4" idx="1"/>
            <a:endCxn id="40" idx="1"/>
          </p:cNvCxnSpPr>
          <p:nvPr/>
        </p:nvCxnSpPr>
        <p:spPr>
          <a:xfrm rot="10800000" flipH="1" flipV="1">
            <a:off x="884830" y="1419372"/>
            <a:ext cx="1772754" cy="4384180"/>
          </a:xfrm>
          <a:prstGeom prst="bentConnector3">
            <a:avLst>
              <a:gd name="adj1" fmla="val -1264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46" name="Text Box 6"/>
          <p:cNvSpPr txBox="1">
            <a:spLocks noChangeArrowheads="1"/>
          </p:cNvSpPr>
          <p:nvPr/>
        </p:nvSpPr>
        <p:spPr bwMode="auto">
          <a:xfrm>
            <a:off x="2315004" y="4681535"/>
            <a:ext cx="3831863" cy="343443"/>
          </a:xfrm>
          <a:prstGeom prst="rect">
            <a:avLst/>
          </a:prstGeom>
          <a:noFill/>
          <a:ln w="25400">
            <a:solidFill>
              <a:schemeClr val="accent3">
                <a:lumMod val="60000"/>
                <a:lumOff val="40000"/>
              </a:schemeClr>
            </a:solid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a:t>
            </a:r>
          </a:p>
        </p:txBody>
      </p:sp>
      <p:cxnSp>
        <p:nvCxnSpPr>
          <p:cNvPr id="47" name="Elbow Connector 46"/>
          <p:cNvCxnSpPr>
            <a:stCxn id="4" idx="1"/>
            <a:endCxn id="46" idx="1"/>
          </p:cNvCxnSpPr>
          <p:nvPr/>
        </p:nvCxnSpPr>
        <p:spPr>
          <a:xfrm rot="10800000" flipH="1" flipV="1">
            <a:off x="884830" y="1419372"/>
            <a:ext cx="1430173" cy="3433884"/>
          </a:xfrm>
          <a:prstGeom prst="bentConnector3">
            <a:avLst>
              <a:gd name="adj1" fmla="val -15670"/>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50" name="Text Box 40"/>
          <p:cNvSpPr txBox="1">
            <a:spLocks noChangeArrowheads="1"/>
          </p:cNvSpPr>
          <p:nvPr/>
        </p:nvSpPr>
        <p:spPr bwMode="auto">
          <a:xfrm>
            <a:off x="6050521" y="5354248"/>
            <a:ext cx="3496855" cy="1015663"/>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Final result – 8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64 individual tables across 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8-node (1 data rack) appliance</a:t>
            </a:r>
          </a:p>
        </p:txBody>
      </p:sp>
      <p:sp>
        <p:nvSpPr>
          <p:cNvPr id="16" name="Rectangle 15">
            <a:extLst>
              <a:ext uri="{FF2B5EF4-FFF2-40B4-BE49-F238E27FC236}">
                <a16:creationId xmlns:a16="http://schemas.microsoft.com/office/drawing/2014/main" id="{85B69D06-D301-4BA3-BDF8-D946BECE50E4}"/>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PS - Distributions</a:t>
            </a:r>
          </a:p>
        </p:txBody>
      </p:sp>
      <p:grpSp>
        <p:nvGrpSpPr>
          <p:cNvPr id="17" name="Group 16">
            <a:extLst>
              <a:ext uri="{FF2B5EF4-FFF2-40B4-BE49-F238E27FC236}">
                <a16:creationId xmlns:a16="http://schemas.microsoft.com/office/drawing/2014/main" id="{66CCE3DF-746E-4405-9991-0158E0EF25EE}"/>
              </a:ext>
            </a:extLst>
          </p:cNvPr>
          <p:cNvGrpSpPr>
            <a:grpSpLocks noChangeAspect="1"/>
          </p:cNvGrpSpPr>
          <p:nvPr/>
        </p:nvGrpSpPr>
        <p:grpSpPr>
          <a:xfrm>
            <a:off x="379044" y="240226"/>
            <a:ext cx="385625" cy="553998"/>
            <a:chOff x="10785485" y="3375598"/>
            <a:chExt cx="455613" cy="604838"/>
          </a:xfrm>
        </p:grpSpPr>
        <p:sp>
          <p:nvSpPr>
            <p:cNvPr id="18" name="Freeform 80">
              <a:extLst>
                <a:ext uri="{FF2B5EF4-FFF2-40B4-BE49-F238E27FC236}">
                  <a16:creationId xmlns:a16="http://schemas.microsoft.com/office/drawing/2014/main" id="{73B4D9C6-6C11-419C-8FB2-5E6201FDE43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81">
              <a:extLst>
                <a:ext uri="{FF2B5EF4-FFF2-40B4-BE49-F238E27FC236}">
                  <a16:creationId xmlns:a16="http://schemas.microsoft.com/office/drawing/2014/main" id="{A691628B-9E86-4E5D-9763-F0819E26B7A9}"/>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82">
              <a:extLst>
                <a:ext uri="{FF2B5EF4-FFF2-40B4-BE49-F238E27FC236}">
                  <a16:creationId xmlns:a16="http://schemas.microsoft.com/office/drawing/2014/main" id="{A83119D9-CC0E-4467-924E-F018AD47DED0}"/>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83">
              <a:extLst>
                <a:ext uri="{FF2B5EF4-FFF2-40B4-BE49-F238E27FC236}">
                  <a16:creationId xmlns:a16="http://schemas.microsoft.com/office/drawing/2014/main" id="{D2E42D09-18E5-4CD7-8430-8574B01BE1C9}"/>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84">
              <a:extLst>
                <a:ext uri="{FF2B5EF4-FFF2-40B4-BE49-F238E27FC236}">
                  <a16:creationId xmlns:a16="http://schemas.microsoft.com/office/drawing/2014/main" id="{A9787C3E-3562-4764-9186-4C9A6F021FD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85">
              <a:extLst>
                <a:ext uri="{FF2B5EF4-FFF2-40B4-BE49-F238E27FC236}">
                  <a16:creationId xmlns:a16="http://schemas.microsoft.com/office/drawing/2014/main" id="{FD39B14A-439D-4BA5-ABA1-D2223750B32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86">
              <a:extLst>
                <a:ext uri="{FF2B5EF4-FFF2-40B4-BE49-F238E27FC236}">
                  <a16:creationId xmlns:a16="http://schemas.microsoft.com/office/drawing/2014/main" id="{36717BEE-1D71-4640-B444-C971393DD92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87">
              <a:extLst>
                <a:ext uri="{FF2B5EF4-FFF2-40B4-BE49-F238E27FC236}">
                  <a16:creationId xmlns:a16="http://schemas.microsoft.com/office/drawing/2014/main" id="{73CC99D2-6791-4E99-9321-E72B0296B0E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88">
              <a:extLst>
                <a:ext uri="{FF2B5EF4-FFF2-40B4-BE49-F238E27FC236}">
                  <a16:creationId xmlns:a16="http://schemas.microsoft.com/office/drawing/2014/main" id="{D1780B8C-7771-4FBA-BCFF-DD9E267A582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9">
              <a:extLst>
                <a:ext uri="{FF2B5EF4-FFF2-40B4-BE49-F238E27FC236}">
                  <a16:creationId xmlns:a16="http://schemas.microsoft.com/office/drawing/2014/main" id="{0FCA4DD3-A2BA-4C86-9FCC-FF9B6CC033B2}"/>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90">
              <a:extLst>
                <a:ext uri="{FF2B5EF4-FFF2-40B4-BE49-F238E27FC236}">
                  <a16:creationId xmlns:a16="http://schemas.microsoft.com/office/drawing/2014/main" id="{D3F5D73A-1603-4500-8482-E8CA527521F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91">
              <a:extLst>
                <a:ext uri="{FF2B5EF4-FFF2-40B4-BE49-F238E27FC236}">
                  <a16:creationId xmlns:a16="http://schemas.microsoft.com/office/drawing/2014/main" id="{B8C4B3CC-4CCD-44D8-9CA7-5FD2498B1D7C}"/>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92">
              <a:extLst>
                <a:ext uri="{FF2B5EF4-FFF2-40B4-BE49-F238E27FC236}">
                  <a16:creationId xmlns:a16="http://schemas.microsoft.com/office/drawing/2014/main" id="{BC43158A-DAEE-4915-863D-FB989612687E}"/>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93">
              <a:extLst>
                <a:ext uri="{FF2B5EF4-FFF2-40B4-BE49-F238E27FC236}">
                  <a16:creationId xmlns:a16="http://schemas.microsoft.com/office/drawing/2014/main" id="{FEEB1E3B-CB36-4585-B1DA-36960E292DA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94">
              <a:extLst>
                <a:ext uri="{FF2B5EF4-FFF2-40B4-BE49-F238E27FC236}">
                  <a16:creationId xmlns:a16="http://schemas.microsoft.com/office/drawing/2014/main" id="{353C60D1-D277-4747-9461-73B9CE7EE1B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590158BD-DAD4-4140-96A2-28433F392C0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54A64F39-9B17-436D-994B-8E5DB859922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Box 40">
            <a:extLst>
              <a:ext uri="{FF2B5EF4-FFF2-40B4-BE49-F238E27FC236}">
                <a16:creationId xmlns:a16="http://schemas.microsoft.com/office/drawing/2014/main" id="{5CFE5B1D-6D60-44C2-87D4-2C7BA4F8A11D}"/>
              </a:ext>
            </a:extLst>
          </p:cNvPr>
          <p:cNvSpPr txBox="1">
            <a:spLocks noChangeArrowheads="1"/>
          </p:cNvSpPr>
          <p:nvPr/>
        </p:nvSpPr>
        <p:spPr bwMode="auto">
          <a:xfrm>
            <a:off x="8371171" y="1290609"/>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H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7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6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node (1 data rack) appliance</a:t>
            </a:r>
          </a:p>
        </p:txBody>
      </p:sp>
      <p:sp>
        <p:nvSpPr>
          <p:cNvPr id="38" name="Text Box 40">
            <a:extLst>
              <a:ext uri="{FF2B5EF4-FFF2-40B4-BE49-F238E27FC236}">
                <a16:creationId xmlns:a16="http://schemas.microsoft.com/office/drawing/2014/main" id="{EBE67883-E68A-459D-A665-FB54D3EC4D0F}"/>
              </a:ext>
            </a:extLst>
          </p:cNvPr>
          <p:cNvSpPr txBox="1">
            <a:spLocks noChangeArrowheads="1"/>
          </p:cNvSpPr>
          <p:nvPr/>
        </p:nvSpPr>
        <p:spPr bwMode="auto">
          <a:xfrm>
            <a:off x="8371171" y="2629858"/>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Dell &amp; Quan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6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4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node (1 data rack) appliance</a:t>
            </a:r>
          </a:p>
        </p:txBody>
      </p:sp>
    </p:spTree>
    <p:extLst>
      <p:ext uri="{BB962C8B-B14F-4D97-AF65-F5344CB8AC3E}">
        <p14:creationId xmlns:p14="http://schemas.microsoft.com/office/powerpoint/2010/main" val="88666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0"/>
                            </p:stCondLst>
                            <p:childTnLst>
                              <p:par>
                                <p:cTn id="11" presetID="10"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par>
                          <p:cTn id="17" fill="hold">
                            <p:stCondLst>
                              <p:cond delay="500"/>
                            </p:stCondLst>
                            <p:childTnLst>
                              <p:par>
                                <p:cTn id="18" presetID="1" presetClass="entr" presetSubtype="0" fill="hold" nodeType="afterEffect">
                                  <p:stCondLst>
                                    <p:cond delay="2000"/>
                                  </p:stCondLst>
                                  <p:childTnLst>
                                    <p:set>
                                      <p:cBhvr>
                                        <p:cTn id="19" dur="1" fill="hold">
                                          <p:stCondLst>
                                            <p:cond delay="0"/>
                                          </p:stCondLst>
                                        </p:cTn>
                                        <p:tgtEl>
                                          <p:spTgt spid="41"/>
                                        </p:tgtEl>
                                        <p:attrNameLst>
                                          <p:attrName>style.visibility</p:attrName>
                                        </p:attrNameLst>
                                      </p:cBhvr>
                                      <p:to>
                                        <p:strVal val="visible"/>
                                      </p:to>
                                    </p:set>
                                  </p:childTnLst>
                                </p:cTn>
                              </p:par>
                            </p:childTnLst>
                          </p:cTn>
                        </p:par>
                        <p:par>
                          <p:cTn id="20" fill="hold">
                            <p:stCondLst>
                              <p:cond delay="2500"/>
                            </p:stCondLst>
                            <p:childTnLst>
                              <p:par>
                                <p:cTn id="21" presetID="1" presetClass="entr" presetSubtype="0"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par>
                          <p:cTn id="23" fill="hold">
                            <p:stCondLst>
                              <p:cond delay="2500"/>
                            </p:stCondLst>
                            <p:childTnLst>
                              <p:par>
                                <p:cTn id="24" presetID="1" presetClass="entr" presetSubtype="0" fill="hold" nodeType="afterEffect">
                                  <p:stCondLst>
                                    <p:cond delay="1000"/>
                                  </p:stCondLst>
                                  <p:childTnLst>
                                    <p:set>
                                      <p:cBhvr>
                                        <p:cTn id="25" dur="1" fill="hold">
                                          <p:stCondLst>
                                            <p:cond delay="0"/>
                                          </p:stCondLst>
                                        </p:cTn>
                                        <p:tgtEl>
                                          <p:spTgt spid="47"/>
                                        </p:tgtEl>
                                        <p:attrNameLst>
                                          <p:attrName>style.visibility</p:attrName>
                                        </p:attrNameLst>
                                      </p:cBhvr>
                                      <p:to>
                                        <p:strVal val="visible"/>
                                      </p:to>
                                    </p:set>
                                  </p:childTnLst>
                                </p:cTn>
                              </p:par>
                            </p:childTnLst>
                          </p:cTn>
                        </p:par>
                        <p:par>
                          <p:cTn id="26" fill="hold">
                            <p:stCondLst>
                              <p:cond delay="3500"/>
                            </p:stCondLst>
                            <p:childTnLst>
                              <p:par>
                                <p:cTn id="27" presetID="1" presetClass="entr" presetSubtype="0" fill="hold" grpId="0" nodeType="after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par>
                          <p:cTn id="29" fill="hold">
                            <p:stCondLst>
                              <p:cond delay="3500"/>
                            </p:stCondLst>
                            <p:childTnLst>
                              <p:par>
                                <p:cTn id="30" presetID="1" presetClass="entr" presetSubtype="0" fill="hold" nodeType="afterEffect">
                                  <p:stCondLst>
                                    <p:cond delay="1000"/>
                                  </p:stCondLst>
                                  <p:childTnLst>
                                    <p:set>
                                      <p:cBhvr>
                                        <p:cTn id="31" dur="1" fill="hold">
                                          <p:stCondLst>
                                            <p:cond delay="0"/>
                                          </p:stCondLst>
                                        </p:cTn>
                                        <p:tgtEl>
                                          <p:spTgt spid="42"/>
                                        </p:tgtEl>
                                        <p:attrNameLst>
                                          <p:attrName>style.visibility</p:attrName>
                                        </p:attrNameLst>
                                      </p:cBhvr>
                                      <p:to>
                                        <p:strVal val="visible"/>
                                      </p:to>
                                    </p:set>
                                  </p:childTnLst>
                                </p:cTn>
                              </p:par>
                            </p:childTnLst>
                          </p:cTn>
                        </p:par>
                        <p:par>
                          <p:cTn id="32" fill="hold">
                            <p:stCondLst>
                              <p:cond delay="4500"/>
                            </p:stCondLst>
                            <p:childTnLst>
                              <p:par>
                                <p:cTn id="33" presetID="1"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 calcmode="lin" valueType="num">
                                      <p:cBhvr additive="base">
                                        <p:cTn id="39" dur="500" fill="hold"/>
                                        <p:tgtEl>
                                          <p:spTgt spid="50"/>
                                        </p:tgtEl>
                                        <p:attrNameLst>
                                          <p:attrName>ppt_x</p:attrName>
                                        </p:attrNameLst>
                                      </p:cBhvr>
                                      <p:tavLst>
                                        <p:tav tm="0">
                                          <p:val>
                                            <p:strVal val="#ppt_x"/>
                                          </p:val>
                                        </p:tav>
                                        <p:tav tm="100000">
                                          <p:val>
                                            <p:strVal val="#ppt_x"/>
                                          </p:val>
                                        </p:tav>
                                      </p:tavLst>
                                    </p:anim>
                                    <p:anim calcmode="lin" valueType="num">
                                      <p:cBhvr additive="base">
                                        <p:cTn id="4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additive="base">
                                        <p:cTn id="45" dur="500" fill="hold"/>
                                        <p:tgtEl>
                                          <p:spTgt spid="37"/>
                                        </p:tgtEl>
                                        <p:attrNameLst>
                                          <p:attrName>ppt_x</p:attrName>
                                        </p:attrNameLst>
                                      </p:cBhvr>
                                      <p:tavLst>
                                        <p:tav tm="0">
                                          <p:val>
                                            <p:strVal val="#ppt_x"/>
                                          </p:val>
                                        </p:tav>
                                        <p:tav tm="100000">
                                          <p:val>
                                            <p:strVal val="#ppt_x"/>
                                          </p:val>
                                        </p:tav>
                                      </p:tavLst>
                                    </p:anim>
                                    <p:anim calcmode="lin" valueType="num">
                                      <p:cBhvr additive="base">
                                        <p:cTn id="4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24" grpId="0"/>
      <p:bldP spid="26" grpId="0" animBg="1"/>
      <p:bldP spid="39" grpId="0" animBg="1"/>
      <p:bldP spid="40" grpId="0" animBg="1"/>
      <p:bldP spid="46" grpId="0" animBg="1"/>
      <p:bldP spid="50" grpId="0"/>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884831" y="1098607"/>
            <a:ext cx="7716773" cy="69397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CREATE TABLE </a:t>
            </a:r>
            <a:r>
              <a:rPr kumimoji="0" lang="en-US" sz="1961" b="0" i="0" u="none" strike="noStrike" kern="1200" cap="none" spc="0" normalizeH="0" baseline="0" noProof="0" err="1">
                <a:ln>
                  <a:noFill/>
                </a:ln>
                <a:solidFill>
                  <a:prstClr val="black"/>
                </a:solidFill>
                <a:effectLst/>
                <a:uLnTx/>
                <a:uFillTx/>
                <a:latin typeface="Segoe UI" pitchFamily="34" charset="0"/>
                <a:ea typeface="Segoe UI" pitchFamily="34" charset="0"/>
                <a:cs typeface="Segoe UI" pitchFamily="34" charset="0"/>
              </a:rPr>
              <a:t>myTable</a:t>
            </a: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 (column Defs)</a:t>
            </a:r>
            <a:b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b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WITH ( DISTRIBUTION = HASH (id));</a:t>
            </a:r>
          </a:p>
        </p:txBody>
      </p:sp>
      <p:cxnSp>
        <p:nvCxnSpPr>
          <p:cNvPr id="76" name="Elbow Connector 75"/>
          <p:cNvCxnSpPr>
            <a:cxnSpLocks/>
            <a:stCxn id="4" idx="1"/>
          </p:cNvCxnSpPr>
          <p:nvPr/>
        </p:nvCxnSpPr>
        <p:spPr>
          <a:xfrm rot="10800000" flipH="1" flipV="1">
            <a:off x="884830" y="1445591"/>
            <a:ext cx="1026963" cy="1201355"/>
          </a:xfrm>
          <a:prstGeom prst="bentConnector4">
            <a:avLst>
              <a:gd name="adj1" fmla="val -22260"/>
              <a:gd name="adj2" fmla="val 64441"/>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1" name="Elbow Connector 40"/>
          <p:cNvCxnSpPr>
            <a:stCxn id="4" idx="1"/>
          </p:cNvCxnSpPr>
          <p:nvPr/>
        </p:nvCxnSpPr>
        <p:spPr>
          <a:xfrm rot="10800000" flipH="1" flipV="1">
            <a:off x="884831" y="1445592"/>
            <a:ext cx="1026963" cy="2599560"/>
          </a:xfrm>
          <a:prstGeom prst="bentConnector4">
            <a:avLst>
              <a:gd name="adj1" fmla="val -21822"/>
              <a:gd name="adj2" fmla="val 56674"/>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grpSp>
        <p:nvGrpSpPr>
          <p:cNvPr id="78" name="Group 77"/>
          <p:cNvGrpSpPr/>
          <p:nvPr/>
        </p:nvGrpSpPr>
        <p:grpSpPr>
          <a:xfrm>
            <a:off x="2234915" y="1861652"/>
            <a:ext cx="7873860" cy="4627069"/>
            <a:chOff x="4206290" y="1673011"/>
            <a:chExt cx="8031747" cy="4719851"/>
          </a:xfrm>
        </p:grpSpPr>
        <p:grpSp>
          <p:nvGrpSpPr>
            <p:cNvPr id="79" name="Group 78"/>
            <p:cNvGrpSpPr/>
            <p:nvPr/>
          </p:nvGrpSpPr>
          <p:grpSpPr>
            <a:xfrm>
              <a:off x="4206290" y="1673011"/>
              <a:ext cx="8031747" cy="4719851"/>
              <a:chOff x="4176351" y="114301"/>
              <a:chExt cx="7874977" cy="5444528"/>
            </a:xfrm>
          </p:grpSpPr>
          <p:sp>
            <p:nvSpPr>
              <p:cNvPr id="204" name="Rounded Rectangle 203"/>
              <p:cNvSpPr/>
              <p:nvPr/>
            </p:nvSpPr>
            <p:spPr>
              <a:xfrm>
                <a:off x="4176351" y="114301"/>
                <a:ext cx="7874977" cy="544452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5" name="TextBox 20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44" name="Rectangle 143"/>
            <p:cNvSpPr/>
            <p:nvPr/>
          </p:nvSpPr>
          <p:spPr>
            <a:xfrm>
              <a:off x="5517017" y="5630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145" name="Rectangle 144"/>
            <p:cNvSpPr/>
            <p:nvPr/>
          </p:nvSpPr>
          <p:spPr>
            <a:xfrm>
              <a:off x="4829437" y="56300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146" name="Rectangle 145"/>
            <p:cNvSpPr/>
            <p:nvPr/>
          </p:nvSpPr>
          <p:spPr>
            <a:xfrm>
              <a:off x="6202817" y="5629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147" name="Rectangle 146"/>
            <p:cNvSpPr/>
            <p:nvPr/>
          </p:nvSpPr>
          <p:spPr>
            <a:xfrm>
              <a:off x="6888617" y="5630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48" name="Rectangle 147"/>
            <p:cNvSpPr/>
            <p:nvPr/>
          </p:nvSpPr>
          <p:spPr>
            <a:xfrm>
              <a:off x="75744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49" name="Rectangle 148"/>
            <p:cNvSpPr/>
            <p:nvPr/>
          </p:nvSpPr>
          <p:spPr>
            <a:xfrm>
              <a:off x="82602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50" name="Rectangle 149"/>
            <p:cNvSpPr/>
            <p:nvPr/>
          </p:nvSpPr>
          <p:spPr>
            <a:xfrm>
              <a:off x="9631817" y="5629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51" name="Rectangle 150"/>
            <p:cNvSpPr/>
            <p:nvPr/>
          </p:nvSpPr>
          <p:spPr>
            <a:xfrm>
              <a:off x="89460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52" name="Rectangle 151"/>
            <p:cNvSpPr/>
            <p:nvPr/>
          </p:nvSpPr>
          <p:spPr>
            <a:xfrm>
              <a:off x="10360869" y="5629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53" name="Rectangle 152"/>
            <p:cNvSpPr/>
            <p:nvPr/>
          </p:nvSpPr>
          <p:spPr>
            <a:xfrm>
              <a:off x="11079617" y="5629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54" name="Rectangle 153"/>
            <p:cNvSpPr/>
            <p:nvPr/>
          </p:nvSpPr>
          <p:spPr>
            <a:xfrm>
              <a:off x="5517017" y="28868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55" name="Rectangle 154"/>
            <p:cNvSpPr/>
            <p:nvPr/>
          </p:nvSpPr>
          <p:spPr>
            <a:xfrm>
              <a:off x="4829437" y="28868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56" name="Rectangle 155"/>
            <p:cNvSpPr/>
            <p:nvPr/>
          </p:nvSpPr>
          <p:spPr>
            <a:xfrm>
              <a:off x="6202817" y="28867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57" name="Rectangle 156"/>
            <p:cNvSpPr/>
            <p:nvPr/>
          </p:nvSpPr>
          <p:spPr>
            <a:xfrm>
              <a:off x="6888617" y="28868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58" name="Rectangle 157"/>
            <p:cNvSpPr/>
            <p:nvPr/>
          </p:nvSpPr>
          <p:spPr>
            <a:xfrm>
              <a:off x="75744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59" name="Rectangle 158"/>
            <p:cNvSpPr/>
            <p:nvPr/>
          </p:nvSpPr>
          <p:spPr>
            <a:xfrm>
              <a:off x="82602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60" name="Rectangle 159"/>
            <p:cNvSpPr/>
            <p:nvPr/>
          </p:nvSpPr>
          <p:spPr>
            <a:xfrm>
              <a:off x="9631817" y="28867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61" name="Rectangle 160"/>
            <p:cNvSpPr/>
            <p:nvPr/>
          </p:nvSpPr>
          <p:spPr>
            <a:xfrm>
              <a:off x="89460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62" name="Rectangle 161"/>
            <p:cNvSpPr/>
            <p:nvPr/>
          </p:nvSpPr>
          <p:spPr>
            <a:xfrm>
              <a:off x="10360869" y="28867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63" name="Rectangle 162"/>
            <p:cNvSpPr/>
            <p:nvPr/>
          </p:nvSpPr>
          <p:spPr>
            <a:xfrm>
              <a:off x="11079617" y="28867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64" name="Rectangle 163"/>
            <p:cNvSpPr/>
            <p:nvPr/>
          </p:nvSpPr>
          <p:spPr>
            <a:xfrm>
              <a:off x="5517017" y="35726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65" name="Rectangle 164"/>
            <p:cNvSpPr/>
            <p:nvPr/>
          </p:nvSpPr>
          <p:spPr>
            <a:xfrm>
              <a:off x="4829437" y="35726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66" name="Rectangle 165"/>
            <p:cNvSpPr/>
            <p:nvPr/>
          </p:nvSpPr>
          <p:spPr>
            <a:xfrm>
              <a:off x="6202817" y="35725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67" name="Rectangle 166"/>
            <p:cNvSpPr/>
            <p:nvPr/>
          </p:nvSpPr>
          <p:spPr>
            <a:xfrm>
              <a:off x="6888617" y="35726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68" name="Rectangle 167"/>
            <p:cNvSpPr/>
            <p:nvPr/>
          </p:nvSpPr>
          <p:spPr>
            <a:xfrm>
              <a:off x="75744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69" name="Rectangle 168"/>
            <p:cNvSpPr/>
            <p:nvPr/>
          </p:nvSpPr>
          <p:spPr>
            <a:xfrm>
              <a:off x="82602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70" name="Rectangle 169"/>
            <p:cNvSpPr/>
            <p:nvPr/>
          </p:nvSpPr>
          <p:spPr>
            <a:xfrm>
              <a:off x="9631817" y="35725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71" name="Rectangle 170"/>
            <p:cNvSpPr/>
            <p:nvPr/>
          </p:nvSpPr>
          <p:spPr>
            <a:xfrm>
              <a:off x="89460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72" name="Rectangle 171"/>
            <p:cNvSpPr/>
            <p:nvPr/>
          </p:nvSpPr>
          <p:spPr>
            <a:xfrm>
              <a:off x="10360869" y="35725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73" name="Rectangle 172"/>
            <p:cNvSpPr/>
            <p:nvPr/>
          </p:nvSpPr>
          <p:spPr>
            <a:xfrm>
              <a:off x="11079617" y="35725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74" name="Rectangle 173"/>
            <p:cNvSpPr/>
            <p:nvPr/>
          </p:nvSpPr>
          <p:spPr>
            <a:xfrm>
              <a:off x="5517017" y="42584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75" name="Rectangle 174"/>
            <p:cNvSpPr/>
            <p:nvPr/>
          </p:nvSpPr>
          <p:spPr>
            <a:xfrm>
              <a:off x="4829437" y="42584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76" name="Rectangle 175"/>
            <p:cNvSpPr/>
            <p:nvPr/>
          </p:nvSpPr>
          <p:spPr>
            <a:xfrm>
              <a:off x="6202817" y="42583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77" name="Rectangle 176"/>
            <p:cNvSpPr/>
            <p:nvPr/>
          </p:nvSpPr>
          <p:spPr>
            <a:xfrm>
              <a:off x="6888617" y="42584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78" name="Rectangle 177"/>
            <p:cNvSpPr/>
            <p:nvPr/>
          </p:nvSpPr>
          <p:spPr>
            <a:xfrm>
              <a:off x="75744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79" name="Rectangle 178"/>
            <p:cNvSpPr/>
            <p:nvPr/>
          </p:nvSpPr>
          <p:spPr>
            <a:xfrm>
              <a:off x="82602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80" name="Rectangle 179"/>
            <p:cNvSpPr/>
            <p:nvPr/>
          </p:nvSpPr>
          <p:spPr>
            <a:xfrm>
              <a:off x="9631817" y="425838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81" name="Rectangle 180"/>
            <p:cNvSpPr/>
            <p:nvPr/>
          </p:nvSpPr>
          <p:spPr>
            <a:xfrm>
              <a:off x="89460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82" name="Rectangle 181"/>
            <p:cNvSpPr/>
            <p:nvPr/>
          </p:nvSpPr>
          <p:spPr>
            <a:xfrm>
              <a:off x="10360869" y="42583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83" name="Rectangle 182"/>
            <p:cNvSpPr/>
            <p:nvPr/>
          </p:nvSpPr>
          <p:spPr>
            <a:xfrm>
              <a:off x="11079617" y="42583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84" name="Rectangle 183"/>
            <p:cNvSpPr/>
            <p:nvPr/>
          </p:nvSpPr>
          <p:spPr>
            <a:xfrm>
              <a:off x="5517017" y="49442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85" name="Rectangle 184"/>
            <p:cNvSpPr/>
            <p:nvPr/>
          </p:nvSpPr>
          <p:spPr>
            <a:xfrm>
              <a:off x="4829437" y="49442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86" name="Rectangle 185"/>
            <p:cNvSpPr/>
            <p:nvPr/>
          </p:nvSpPr>
          <p:spPr>
            <a:xfrm>
              <a:off x="6202817" y="49441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87" name="Rectangle 186"/>
            <p:cNvSpPr/>
            <p:nvPr/>
          </p:nvSpPr>
          <p:spPr>
            <a:xfrm>
              <a:off x="6888617" y="49442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88" name="Rectangle 187"/>
            <p:cNvSpPr/>
            <p:nvPr/>
          </p:nvSpPr>
          <p:spPr>
            <a:xfrm>
              <a:off x="75744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89" name="Rectangle 188"/>
            <p:cNvSpPr/>
            <p:nvPr/>
          </p:nvSpPr>
          <p:spPr>
            <a:xfrm>
              <a:off x="82602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90" name="Rectangle 189"/>
            <p:cNvSpPr/>
            <p:nvPr/>
          </p:nvSpPr>
          <p:spPr>
            <a:xfrm>
              <a:off x="9631817" y="49441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91" name="Rectangle 190"/>
            <p:cNvSpPr/>
            <p:nvPr/>
          </p:nvSpPr>
          <p:spPr>
            <a:xfrm>
              <a:off x="89460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92" name="Rectangle 191"/>
            <p:cNvSpPr/>
            <p:nvPr/>
          </p:nvSpPr>
          <p:spPr>
            <a:xfrm>
              <a:off x="10360869" y="49441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93" name="Rectangle 192"/>
            <p:cNvSpPr/>
            <p:nvPr/>
          </p:nvSpPr>
          <p:spPr>
            <a:xfrm>
              <a:off x="11079617" y="49441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94" name="Rectangle 193"/>
            <p:cNvSpPr/>
            <p:nvPr/>
          </p:nvSpPr>
          <p:spPr>
            <a:xfrm>
              <a:off x="5517017" y="2201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95" name="Rectangle 194"/>
            <p:cNvSpPr/>
            <p:nvPr/>
          </p:nvSpPr>
          <p:spPr>
            <a:xfrm>
              <a:off x="4829437" y="220101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96" name="Rectangle 195"/>
            <p:cNvSpPr/>
            <p:nvPr/>
          </p:nvSpPr>
          <p:spPr>
            <a:xfrm>
              <a:off x="6202817" y="2200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97" name="Rectangle 196"/>
            <p:cNvSpPr/>
            <p:nvPr/>
          </p:nvSpPr>
          <p:spPr>
            <a:xfrm>
              <a:off x="6888617" y="2201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98" name="Rectangle 197"/>
            <p:cNvSpPr/>
            <p:nvPr/>
          </p:nvSpPr>
          <p:spPr>
            <a:xfrm>
              <a:off x="75744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99" name="Rectangle 198"/>
            <p:cNvSpPr/>
            <p:nvPr/>
          </p:nvSpPr>
          <p:spPr>
            <a:xfrm>
              <a:off x="82602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200" name="Rectangle 199"/>
            <p:cNvSpPr/>
            <p:nvPr/>
          </p:nvSpPr>
          <p:spPr>
            <a:xfrm>
              <a:off x="9631817" y="2200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201" name="Rectangle 200"/>
            <p:cNvSpPr/>
            <p:nvPr/>
          </p:nvSpPr>
          <p:spPr>
            <a:xfrm>
              <a:off x="89460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202" name="Rectangle 201"/>
            <p:cNvSpPr/>
            <p:nvPr/>
          </p:nvSpPr>
          <p:spPr>
            <a:xfrm>
              <a:off x="10360869" y="2200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203" name="Rectangle 202"/>
            <p:cNvSpPr/>
            <p:nvPr/>
          </p:nvSpPr>
          <p:spPr>
            <a:xfrm>
              <a:off x="11079617" y="2200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grpSp>
      <p:sp>
        <p:nvSpPr>
          <p:cNvPr id="70" name="Rectangle 69">
            <a:extLst>
              <a:ext uri="{FF2B5EF4-FFF2-40B4-BE49-F238E27FC236}">
                <a16:creationId xmlns:a16="http://schemas.microsoft.com/office/drawing/2014/main" id="{6F7EEBCA-315E-42C0-AFC8-9AEC2F5F8C0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SQLDW - Distributions</a:t>
            </a:r>
          </a:p>
        </p:txBody>
      </p:sp>
      <p:grpSp>
        <p:nvGrpSpPr>
          <p:cNvPr id="71" name="Group 70">
            <a:extLst>
              <a:ext uri="{FF2B5EF4-FFF2-40B4-BE49-F238E27FC236}">
                <a16:creationId xmlns:a16="http://schemas.microsoft.com/office/drawing/2014/main" id="{000879CF-2E59-442D-A03E-526FDD61053D}"/>
              </a:ext>
            </a:extLst>
          </p:cNvPr>
          <p:cNvGrpSpPr>
            <a:grpSpLocks noChangeAspect="1"/>
          </p:cNvGrpSpPr>
          <p:nvPr/>
        </p:nvGrpSpPr>
        <p:grpSpPr>
          <a:xfrm>
            <a:off x="379044" y="240226"/>
            <a:ext cx="385625" cy="553998"/>
            <a:chOff x="10785485" y="3375598"/>
            <a:chExt cx="455613" cy="604838"/>
          </a:xfrm>
        </p:grpSpPr>
        <p:sp>
          <p:nvSpPr>
            <p:cNvPr id="72" name="Freeform 80">
              <a:extLst>
                <a:ext uri="{FF2B5EF4-FFF2-40B4-BE49-F238E27FC236}">
                  <a16:creationId xmlns:a16="http://schemas.microsoft.com/office/drawing/2014/main" id="{96B336A2-6949-4883-994E-D55D0578C69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81">
              <a:extLst>
                <a:ext uri="{FF2B5EF4-FFF2-40B4-BE49-F238E27FC236}">
                  <a16:creationId xmlns:a16="http://schemas.microsoft.com/office/drawing/2014/main" id="{96CAD08A-C908-4352-9DDF-340CB1A40627}"/>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82">
              <a:extLst>
                <a:ext uri="{FF2B5EF4-FFF2-40B4-BE49-F238E27FC236}">
                  <a16:creationId xmlns:a16="http://schemas.microsoft.com/office/drawing/2014/main" id="{199FDFA5-7891-4048-AE08-A4F634C92955}"/>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83">
              <a:extLst>
                <a:ext uri="{FF2B5EF4-FFF2-40B4-BE49-F238E27FC236}">
                  <a16:creationId xmlns:a16="http://schemas.microsoft.com/office/drawing/2014/main" id="{E2990643-2A16-4AA4-ADF7-F6CC3CB2119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84">
              <a:extLst>
                <a:ext uri="{FF2B5EF4-FFF2-40B4-BE49-F238E27FC236}">
                  <a16:creationId xmlns:a16="http://schemas.microsoft.com/office/drawing/2014/main" id="{066588D4-5369-41A2-A5C6-9980F98E7B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85">
              <a:extLst>
                <a:ext uri="{FF2B5EF4-FFF2-40B4-BE49-F238E27FC236}">
                  <a16:creationId xmlns:a16="http://schemas.microsoft.com/office/drawing/2014/main" id="{E0892714-330F-4DDB-A094-43460B419A4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86">
              <a:extLst>
                <a:ext uri="{FF2B5EF4-FFF2-40B4-BE49-F238E27FC236}">
                  <a16:creationId xmlns:a16="http://schemas.microsoft.com/office/drawing/2014/main" id="{C88E4453-034C-47FB-B2FD-F665D38DAF8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7">
              <a:extLst>
                <a:ext uri="{FF2B5EF4-FFF2-40B4-BE49-F238E27FC236}">
                  <a16:creationId xmlns:a16="http://schemas.microsoft.com/office/drawing/2014/main" id="{2F9FFC4A-9687-4D55-B16C-A565B26BE53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8">
              <a:extLst>
                <a:ext uri="{FF2B5EF4-FFF2-40B4-BE49-F238E27FC236}">
                  <a16:creationId xmlns:a16="http://schemas.microsoft.com/office/drawing/2014/main" id="{7598B2A0-0B4B-44F0-95EE-41288C1BBDC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9">
              <a:extLst>
                <a:ext uri="{FF2B5EF4-FFF2-40B4-BE49-F238E27FC236}">
                  <a16:creationId xmlns:a16="http://schemas.microsoft.com/office/drawing/2014/main" id="{C44E20FB-A471-4BF8-858A-704499E0A2B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0">
              <a:extLst>
                <a:ext uri="{FF2B5EF4-FFF2-40B4-BE49-F238E27FC236}">
                  <a16:creationId xmlns:a16="http://schemas.microsoft.com/office/drawing/2014/main" id="{3D0EF46A-2C4C-470E-8CE0-E230B9016F57}"/>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91">
              <a:extLst>
                <a:ext uri="{FF2B5EF4-FFF2-40B4-BE49-F238E27FC236}">
                  <a16:creationId xmlns:a16="http://schemas.microsoft.com/office/drawing/2014/main" id="{22B9004D-F216-48B5-ADC7-E50E4B462871}"/>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92">
              <a:extLst>
                <a:ext uri="{FF2B5EF4-FFF2-40B4-BE49-F238E27FC236}">
                  <a16:creationId xmlns:a16="http://schemas.microsoft.com/office/drawing/2014/main" id="{CF54B437-1112-49F3-9258-877B533B57F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93">
              <a:extLst>
                <a:ext uri="{FF2B5EF4-FFF2-40B4-BE49-F238E27FC236}">
                  <a16:creationId xmlns:a16="http://schemas.microsoft.com/office/drawing/2014/main" id="{B5526798-B5C3-463B-A7F8-5B07E668CECA}"/>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94">
              <a:extLst>
                <a:ext uri="{FF2B5EF4-FFF2-40B4-BE49-F238E27FC236}">
                  <a16:creationId xmlns:a16="http://schemas.microsoft.com/office/drawing/2014/main" id="{0D5C1350-9007-40FD-BCD9-E7379930574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D1736612-48F8-465D-91E5-49C7A81E4E3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2AC426DE-BE26-41F9-9ED5-1EF29B3DE0E0}"/>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41099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4"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3" name="TextBox 2"/>
          <p:cNvSpPr txBox="1"/>
          <p:nvPr/>
        </p:nvSpPr>
        <p:spPr>
          <a:xfrm>
            <a:off x="114881" y="770206"/>
            <a:ext cx="4911606" cy="2403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genda</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sp>
        <p:nvSpPr>
          <p:cNvPr id="5" name="TextBox 4"/>
          <p:cNvSpPr txBox="1"/>
          <p:nvPr/>
        </p:nvSpPr>
        <p:spPr>
          <a:xfrm>
            <a:off x="5906802" y="1158004"/>
            <a:ext cx="5818909" cy="2554545"/>
          </a:xfrm>
          <a:prstGeom prst="rect">
            <a:avLst/>
          </a:prstGeom>
          <a:noFill/>
        </p:spPr>
        <p:txBody>
          <a:bodyPr wrap="square" rtlCol="0" anchor="t">
            <a:spAutoFit/>
          </a:bodyPr>
          <a:lstStyle/>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oals and Benefits of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Workshop</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Migration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gration Tool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endParaRPr lang="en-US" sz="3200"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051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02002" y="1640609"/>
            <a:ext cx="3393174" cy="4627070"/>
            <a:chOff x="182327" y="1336399"/>
            <a:chExt cx="3393656" cy="4627726"/>
          </a:xfrm>
        </p:grpSpPr>
        <p:grpSp>
          <p:nvGrpSpPr>
            <p:cNvPr id="6" name="Group 5"/>
            <p:cNvGrpSpPr/>
            <p:nvPr/>
          </p:nvGrpSpPr>
          <p:grpSpPr>
            <a:xfrm>
              <a:off x="182327" y="1336399"/>
              <a:ext cx="3393656" cy="4627726"/>
              <a:chOff x="215659" y="1329687"/>
              <a:chExt cx="3393656" cy="4627726"/>
            </a:xfrm>
          </p:grpSpPr>
          <p:sp>
            <p:nvSpPr>
              <p:cNvPr id="10" name="Rounded Rectangle 9"/>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270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7" name="Rectangle 6"/>
            <p:cNvSpPr/>
            <p:nvPr/>
          </p:nvSpPr>
          <p:spPr>
            <a:xfrm>
              <a:off x="343240" y="3538455"/>
              <a:ext cx="1015200"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 name="Rectangle 7"/>
            <p:cNvSpPr/>
            <p:nvPr/>
          </p:nvSpPr>
          <p:spPr>
            <a:xfrm>
              <a:off x="1974623" y="3538453"/>
              <a:ext cx="1101232"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cxnSp>
          <p:nvCxnSpPr>
            <p:cNvPr id="9" name="Straight Arrow Connector 8"/>
            <p:cNvCxnSpPr>
              <a:stCxn id="7" idx="3"/>
              <a:endCxn id="8" idx="1"/>
            </p:cNvCxnSpPr>
            <p:nvPr/>
          </p:nvCxnSpPr>
          <p:spPr>
            <a:xfrm flipV="1">
              <a:off x="1358440" y="3763712"/>
              <a:ext cx="616183" cy="2"/>
            </a:xfrm>
            <a:prstGeom prst="straightConnector1">
              <a:avLst/>
            </a:prstGeom>
            <a:ln>
              <a:noFill/>
              <a:tailEnd type="triangle"/>
            </a:ln>
            <a:scene3d>
              <a:camera prst="orthographicFront"/>
              <a:lightRig rig="threePt" dir="t"/>
            </a:scene3d>
            <a:sp3d contourW="19050"/>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4123604" y="1640610"/>
            <a:ext cx="7873860" cy="4627069"/>
            <a:chOff x="4176351" y="114301"/>
            <a:chExt cx="7874977" cy="5444528"/>
          </a:xfrm>
        </p:grpSpPr>
        <p:sp>
          <p:nvSpPr>
            <p:cNvPr id="14" name="Rounded Rectangle 13"/>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 name="TextBox 1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6" name="Rounded Rectangle 15"/>
          <p:cNvSpPr/>
          <p:nvPr/>
        </p:nvSpPr>
        <p:spPr>
          <a:xfrm>
            <a:off x="4303151" y="2024689"/>
            <a:ext cx="7544908" cy="4093586"/>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8" name="Rectangle 17"/>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9" name="Rectangle 18"/>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20" name="Rectangle 19"/>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21" name="Rectangle 20"/>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22" name="Rectangle 21"/>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23" name="Rectangle 22"/>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24" name="Rectangle 23"/>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25" name="Rectangle 24"/>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26" name="Rectangle 25"/>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27" name="Rectangle 26"/>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28" name="Rectangle 27"/>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29" name="Rectangle 28"/>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30" name="Rectangle 29"/>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31" name="Rectangle 30"/>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32" name="Rectangle 31"/>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33" name="Rectangle 32"/>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34" name="Rectangle 33"/>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35" name="Rectangle 34"/>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36" name="Rectangle 35"/>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37" name="Rectangle 36"/>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38" name="Rectangle 37"/>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39" name="Rectangle 38"/>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40" name="Rectangle 39"/>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41" name="Rectangle 40"/>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42" name="Rectangle 41"/>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43" name="Rectangle 42"/>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44" name="Rectangle 43"/>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45" name="Rectangle 44"/>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46" name="Rectangle 45"/>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47" name="Rectangle 46"/>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48" name="Rectangle 47"/>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49" name="Rectangle 48"/>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50" name="Rectangle 49"/>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51" name="Rectangle 50"/>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52" name="Rectangle 51"/>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53" name="Rectangle 52"/>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54" name="Rectangle 53"/>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55" name="Rectangle 54"/>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56" name="Rectangle 55"/>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57" name="Rectangle 56"/>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58" name="Rectangle 57"/>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59" name="Rectangle 58"/>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60" name="Rectangle 59"/>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61" name="Rectangle 60"/>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62" name="Rectangle 61"/>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63" name="Rectangle 62"/>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64" name="Rectangle 63"/>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65" name="Rectangle 64"/>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66" name="Rectangle 65"/>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cxnSp>
        <p:nvCxnSpPr>
          <p:cNvPr id="67" name="Straight Arrow Connector 66"/>
          <p:cNvCxnSpPr>
            <a:stCxn id="8" idx="3"/>
            <a:endCxn id="16" idx="1"/>
          </p:cNvCxnSpPr>
          <p:nvPr/>
        </p:nvCxnSpPr>
        <p:spPr>
          <a:xfrm>
            <a:off x="3295119" y="4067578"/>
            <a:ext cx="1008032" cy="3904"/>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69" name="Rectangle 68"/>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70" name="Rectangle 69"/>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71" name="Rectangle 70"/>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72" name="Rectangle 71"/>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73" name="Rectangle 72"/>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74" name="Rectangle 73"/>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75" name="Rectangle 74"/>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76" name="Rectangle 75"/>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77" name="Rectangle 76"/>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78" name="Straight Arrow Connector 77"/>
          <p:cNvCxnSpPr>
            <a:stCxn id="7" idx="3"/>
            <a:endCxn id="8" idx="1"/>
          </p:cNvCxnSpPr>
          <p:nvPr/>
        </p:nvCxnSpPr>
        <p:spPr>
          <a:xfrm flipV="1">
            <a:off x="1577949" y="4067578"/>
            <a:ext cx="616095" cy="2"/>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DB2ACEB-F44E-470A-AEB0-17F29083A676}"/>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100</a:t>
            </a:r>
          </a:p>
        </p:txBody>
      </p:sp>
      <p:grpSp>
        <p:nvGrpSpPr>
          <p:cNvPr id="80" name="Group 79">
            <a:extLst>
              <a:ext uri="{FF2B5EF4-FFF2-40B4-BE49-F238E27FC236}">
                <a16:creationId xmlns:a16="http://schemas.microsoft.com/office/drawing/2014/main" id="{6DFB110D-8291-407F-9362-3C06A9F1B19A}"/>
              </a:ext>
            </a:extLst>
          </p:cNvPr>
          <p:cNvGrpSpPr>
            <a:grpSpLocks noChangeAspect="1"/>
          </p:cNvGrpSpPr>
          <p:nvPr/>
        </p:nvGrpSpPr>
        <p:grpSpPr>
          <a:xfrm>
            <a:off x="379044" y="240226"/>
            <a:ext cx="385625" cy="553998"/>
            <a:chOff x="10785485" y="3375598"/>
            <a:chExt cx="455613" cy="604838"/>
          </a:xfrm>
        </p:grpSpPr>
        <p:sp>
          <p:nvSpPr>
            <p:cNvPr id="81" name="Freeform 80">
              <a:extLst>
                <a:ext uri="{FF2B5EF4-FFF2-40B4-BE49-F238E27FC236}">
                  <a16:creationId xmlns:a16="http://schemas.microsoft.com/office/drawing/2014/main" id="{F18A4D32-E594-42C9-ADF3-E7763838255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1">
              <a:extLst>
                <a:ext uri="{FF2B5EF4-FFF2-40B4-BE49-F238E27FC236}">
                  <a16:creationId xmlns:a16="http://schemas.microsoft.com/office/drawing/2014/main" id="{9760EA62-FBA0-475F-868C-1669C89C21CA}"/>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2">
              <a:extLst>
                <a:ext uri="{FF2B5EF4-FFF2-40B4-BE49-F238E27FC236}">
                  <a16:creationId xmlns:a16="http://schemas.microsoft.com/office/drawing/2014/main" id="{2894F564-7338-490B-9DE2-DD40D471A38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3">
              <a:extLst>
                <a:ext uri="{FF2B5EF4-FFF2-40B4-BE49-F238E27FC236}">
                  <a16:creationId xmlns:a16="http://schemas.microsoft.com/office/drawing/2014/main" id="{B464B47C-3896-4141-ABE6-1134C563B46C}"/>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4">
              <a:extLst>
                <a:ext uri="{FF2B5EF4-FFF2-40B4-BE49-F238E27FC236}">
                  <a16:creationId xmlns:a16="http://schemas.microsoft.com/office/drawing/2014/main" id="{F6F22DAA-4481-4046-BF42-AE58126503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5">
              <a:extLst>
                <a:ext uri="{FF2B5EF4-FFF2-40B4-BE49-F238E27FC236}">
                  <a16:creationId xmlns:a16="http://schemas.microsoft.com/office/drawing/2014/main" id="{051C3951-0D68-447B-B7EE-2E2BC0D79040}"/>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86">
              <a:extLst>
                <a:ext uri="{FF2B5EF4-FFF2-40B4-BE49-F238E27FC236}">
                  <a16:creationId xmlns:a16="http://schemas.microsoft.com/office/drawing/2014/main" id="{79EA0C84-52B0-46D1-9128-B3297CC1122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7">
              <a:extLst>
                <a:ext uri="{FF2B5EF4-FFF2-40B4-BE49-F238E27FC236}">
                  <a16:creationId xmlns:a16="http://schemas.microsoft.com/office/drawing/2014/main" id="{2161E7DA-FA59-4B8F-993A-522C34CA768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88">
              <a:extLst>
                <a:ext uri="{FF2B5EF4-FFF2-40B4-BE49-F238E27FC236}">
                  <a16:creationId xmlns:a16="http://schemas.microsoft.com/office/drawing/2014/main" id="{EE26882D-2832-4D69-85D3-E84095623D5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89">
              <a:extLst>
                <a:ext uri="{FF2B5EF4-FFF2-40B4-BE49-F238E27FC236}">
                  <a16:creationId xmlns:a16="http://schemas.microsoft.com/office/drawing/2014/main" id="{7AA9E325-0BAA-42B1-A459-2FAE31AA2CC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90">
              <a:extLst>
                <a:ext uri="{FF2B5EF4-FFF2-40B4-BE49-F238E27FC236}">
                  <a16:creationId xmlns:a16="http://schemas.microsoft.com/office/drawing/2014/main" id="{33E4D424-A3FF-4B44-AD8F-DB467205294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91">
              <a:extLst>
                <a:ext uri="{FF2B5EF4-FFF2-40B4-BE49-F238E27FC236}">
                  <a16:creationId xmlns:a16="http://schemas.microsoft.com/office/drawing/2014/main" id="{86E99E8B-4832-4C1E-960F-3CFB82490E48}"/>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92">
              <a:extLst>
                <a:ext uri="{FF2B5EF4-FFF2-40B4-BE49-F238E27FC236}">
                  <a16:creationId xmlns:a16="http://schemas.microsoft.com/office/drawing/2014/main" id="{16C211FB-AC17-431C-9FF7-DCA7DF1956CB}"/>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93">
              <a:extLst>
                <a:ext uri="{FF2B5EF4-FFF2-40B4-BE49-F238E27FC236}">
                  <a16:creationId xmlns:a16="http://schemas.microsoft.com/office/drawing/2014/main" id="{2D05447D-3CC8-48C3-968B-7CF962146FD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5527A757-ADEF-4BFD-8BB7-EFB700EB6FA1}"/>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FA1B4625-22FF-45FC-9D53-08199334F5B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F0B2BC6E-E7C2-4455-8EA5-CD4E9361F56A}"/>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925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Group 85"/>
          <p:cNvGrpSpPr/>
          <p:nvPr/>
        </p:nvGrpSpPr>
        <p:grpSpPr>
          <a:xfrm>
            <a:off x="4123604" y="1640610"/>
            <a:ext cx="7873860" cy="4627069"/>
            <a:chOff x="4176351" y="114301"/>
            <a:chExt cx="7874977" cy="5444528"/>
          </a:xfrm>
        </p:grpSpPr>
        <p:sp>
          <p:nvSpPr>
            <p:cNvPr id="87" name="Rounded Rectangle 86"/>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89" name="Rounded Rectangle 88"/>
          <p:cNvSpPr/>
          <p:nvPr/>
        </p:nvSpPr>
        <p:spPr>
          <a:xfrm>
            <a:off x="4527256" y="5450342"/>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p:cNvGrpSpPr/>
          <p:nvPr/>
        </p:nvGrpSpPr>
        <p:grpSpPr>
          <a:xfrm>
            <a:off x="388762" y="1660529"/>
            <a:ext cx="3393174" cy="4627070"/>
            <a:chOff x="201783" y="1673010"/>
            <a:chExt cx="3461214" cy="4719852"/>
          </a:xfrm>
        </p:grpSpPr>
        <p:grpSp>
          <p:nvGrpSpPr>
            <p:cNvPr id="79" name="Group 78"/>
            <p:cNvGrpSpPr/>
            <p:nvPr/>
          </p:nvGrpSpPr>
          <p:grpSpPr>
            <a:xfrm>
              <a:off x="201783" y="1673010"/>
              <a:ext cx="3461214" cy="4719852"/>
              <a:chOff x="182327" y="1336399"/>
              <a:chExt cx="3393656" cy="4627726"/>
            </a:xfrm>
          </p:grpSpPr>
          <p:grpSp>
            <p:nvGrpSpPr>
              <p:cNvPr id="80" name="Group 79"/>
              <p:cNvGrpSpPr/>
              <p:nvPr/>
            </p:nvGrpSpPr>
            <p:grpSpPr>
              <a:xfrm>
                <a:off x="182327" y="1336399"/>
                <a:ext cx="3393656" cy="4627726"/>
                <a:chOff x="215659" y="1329687"/>
                <a:chExt cx="3393656" cy="4627726"/>
              </a:xfrm>
            </p:grpSpPr>
            <p:sp>
              <p:nvSpPr>
                <p:cNvPr id="84" name="Rounded Rectangle 83"/>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81" name="Rectangle 80"/>
              <p:cNvSpPr/>
              <p:nvPr/>
            </p:nvSpPr>
            <p:spPr>
              <a:xfrm>
                <a:off x="343240" y="3199756"/>
                <a:ext cx="943205"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2" name="Rectangle 81"/>
              <p:cNvSpPr/>
              <p:nvPr/>
            </p:nvSpPr>
            <p:spPr>
              <a:xfrm>
                <a:off x="2088414" y="3869927"/>
                <a:ext cx="1156906"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4</a:t>
                </a:r>
              </a:p>
            </p:txBody>
          </p:sp>
          <p:cxnSp>
            <p:nvCxnSpPr>
              <p:cNvPr id="83" name="Straight Arrow Connector 82"/>
              <p:cNvCxnSpPr>
                <a:stCxn id="81" idx="3"/>
                <a:endCxn id="82" idx="1"/>
              </p:cNvCxnSpPr>
              <p:nvPr/>
            </p:nvCxnSpPr>
            <p:spPr>
              <a:xfrm>
                <a:off x="1286445" y="3425016"/>
                <a:ext cx="801969" cy="670171"/>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grpSp>
        <p:sp>
          <p:nvSpPr>
            <p:cNvPr id="91" name="Rectangle 90"/>
            <p:cNvSpPr/>
            <p:nvPr/>
          </p:nvSpPr>
          <p:spPr>
            <a:xfrm>
              <a:off x="2131725" y="2201862"/>
              <a:ext cx="1190683"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sp>
          <p:nvSpPr>
            <p:cNvPr id="92" name="Rectangle 91"/>
            <p:cNvSpPr/>
            <p:nvPr/>
          </p:nvSpPr>
          <p:spPr>
            <a:xfrm>
              <a:off x="2149616" y="4942774"/>
              <a:ext cx="1172790"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5</a:t>
              </a:r>
            </a:p>
          </p:txBody>
        </p:sp>
        <p:sp>
          <p:nvSpPr>
            <p:cNvPr id="93" name="Rectangle 92"/>
            <p:cNvSpPr/>
            <p:nvPr/>
          </p:nvSpPr>
          <p:spPr>
            <a:xfrm>
              <a:off x="2147542" y="3573462"/>
              <a:ext cx="1174865"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3</a:t>
              </a:r>
            </a:p>
          </p:txBody>
        </p:sp>
        <p:sp>
          <p:nvSpPr>
            <p:cNvPr id="94" name="Rectangle 93"/>
            <p:cNvSpPr/>
            <p:nvPr/>
          </p:nvSpPr>
          <p:spPr>
            <a:xfrm>
              <a:off x="2131726" y="2887662"/>
              <a:ext cx="1190682"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2</a:t>
              </a:r>
            </a:p>
          </p:txBody>
        </p:sp>
        <p:sp>
          <p:nvSpPr>
            <p:cNvPr id="95" name="Rectangle 94"/>
            <p:cNvSpPr/>
            <p:nvPr/>
          </p:nvSpPr>
          <p:spPr>
            <a:xfrm>
              <a:off x="2144518" y="5628574"/>
              <a:ext cx="1177888"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6</a:t>
              </a:r>
            </a:p>
          </p:txBody>
        </p:sp>
      </p:grpSp>
      <p:sp>
        <p:nvSpPr>
          <p:cNvPr id="96" name="Rectangle 95"/>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97" name="Rectangle 96"/>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98" name="Rectangle 97"/>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99" name="Rectangle 98"/>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00" name="Rectangle 99"/>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01" name="Rectangle 100"/>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02" name="Rectangle 101"/>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03" name="Rectangle 102"/>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04" name="Rectangle 103"/>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05" name="Rectangle 104"/>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06" name="Rounded Rectangle 105"/>
          <p:cNvSpPr/>
          <p:nvPr/>
        </p:nvSpPr>
        <p:spPr>
          <a:xfrm>
            <a:off x="4549490" y="208498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Rounded Rectangle 106"/>
          <p:cNvSpPr/>
          <p:nvPr/>
        </p:nvSpPr>
        <p:spPr>
          <a:xfrm>
            <a:off x="4549490" y="2757308"/>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ounded Rectangle 107"/>
          <p:cNvSpPr/>
          <p:nvPr/>
        </p:nvSpPr>
        <p:spPr>
          <a:xfrm>
            <a:off x="4549490" y="344615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ounded Rectangle 108"/>
          <p:cNvSpPr/>
          <p:nvPr/>
        </p:nvSpPr>
        <p:spPr>
          <a:xfrm>
            <a:off x="4549490" y="4115161"/>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ounded Rectangle 109"/>
          <p:cNvSpPr/>
          <p:nvPr/>
        </p:nvSpPr>
        <p:spPr>
          <a:xfrm>
            <a:off x="4537301" y="4784163"/>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12" name="Rectangle 111"/>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13" name="Rectangle 112"/>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14" name="Rectangle 113"/>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15" name="Rectangle 114"/>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16" name="Rectangle 115"/>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17" name="Rectangle 116"/>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18" name="Rectangle 117"/>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19" name="Rectangle 118"/>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20" name="Rectangle 119"/>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21" name="Rectangle 120"/>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22" name="Rectangle 121"/>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23" name="Rectangle 122"/>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24" name="Rectangle 123"/>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25" name="Rectangle 124"/>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26" name="Rectangle 125"/>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27" name="Rectangle 126"/>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28" name="Rectangle 127"/>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29" name="Rectangle 128"/>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30" name="Rectangle 129"/>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31" name="Rectangle 130"/>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32" name="Rectangle 131"/>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33" name="Rectangle 132"/>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34" name="Rectangle 133"/>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35" name="Rectangle 134"/>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36" name="Rectangle 135"/>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37" name="Rectangle 136"/>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38" name="Rectangle 137"/>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39" name="Rectangle 138"/>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40" name="Rectangle 139"/>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41" name="Rectangle 140"/>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42" name="Rectangle 141"/>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43" name="Rectangle 142"/>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44" name="Rectangle 143"/>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45" name="Rectangle 144"/>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46" name="Rectangle 145"/>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47" name="Rectangle 146"/>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48" name="Rectangle 147"/>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49" name="Rectangle 148"/>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50" name="Rectangle 149"/>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51" name="Rectangle 150"/>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52" name="Rectangle 151"/>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53" name="Rectangle 152"/>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54" name="Rectangle 153"/>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55" name="Rectangle 154"/>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56" name="Rectangle 155"/>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157" name="Rectangle 156"/>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158" name="Rectangle 157"/>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159" name="Rectangle 158"/>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160" name="Rectangle 159"/>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166" name="Straight Arrow Connector 165"/>
          <p:cNvCxnSpPr>
            <a:stCxn id="81" idx="3"/>
            <a:endCxn id="91" idx="1"/>
          </p:cNvCxnSpPr>
          <p:nvPr/>
        </p:nvCxnSpPr>
        <p:spPr>
          <a:xfrm flipV="1">
            <a:off x="1492723" y="2404213"/>
            <a:ext cx="788042" cy="1344637"/>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81" idx="3"/>
            <a:endCxn id="94" idx="1"/>
          </p:cNvCxnSpPr>
          <p:nvPr/>
        </p:nvCxnSpPr>
        <p:spPr>
          <a:xfrm flipV="1">
            <a:off x="1492724" y="3076532"/>
            <a:ext cx="788043" cy="672319"/>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stCxn id="81" idx="3"/>
            <a:endCxn id="93" idx="1"/>
          </p:cNvCxnSpPr>
          <p:nvPr/>
        </p:nvCxnSpPr>
        <p:spPr>
          <a:xfrm>
            <a:off x="1492724" y="3748850"/>
            <a:ext cx="803548" cy="0"/>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a:stCxn id="81" idx="3"/>
            <a:endCxn id="82" idx="1"/>
          </p:cNvCxnSpPr>
          <p:nvPr/>
        </p:nvCxnSpPr>
        <p:spPr>
          <a:xfrm>
            <a:off x="1492723" y="3748850"/>
            <a:ext cx="801855" cy="670076"/>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81" idx="3"/>
            <a:endCxn id="92" idx="1"/>
          </p:cNvCxnSpPr>
          <p:nvPr/>
        </p:nvCxnSpPr>
        <p:spPr>
          <a:xfrm>
            <a:off x="1492724" y="3748850"/>
            <a:ext cx="805581" cy="1342394"/>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a:stCxn id="81" idx="3"/>
            <a:endCxn id="95" idx="1"/>
          </p:cNvCxnSpPr>
          <p:nvPr/>
        </p:nvCxnSpPr>
        <p:spPr>
          <a:xfrm>
            <a:off x="1492724" y="3748850"/>
            <a:ext cx="800584" cy="2014713"/>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stCxn id="91" idx="3"/>
            <a:endCxn id="106" idx="1"/>
          </p:cNvCxnSpPr>
          <p:nvPr/>
        </p:nvCxnSpPr>
        <p:spPr>
          <a:xfrm flipV="1">
            <a:off x="3448042" y="2394447"/>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94" idx="3"/>
            <a:endCxn id="107" idx="1"/>
          </p:cNvCxnSpPr>
          <p:nvPr/>
        </p:nvCxnSpPr>
        <p:spPr>
          <a:xfrm flipV="1">
            <a:off x="3448042" y="3066765"/>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93" idx="3"/>
            <a:endCxn id="108" idx="1"/>
          </p:cNvCxnSpPr>
          <p:nvPr/>
        </p:nvCxnSpPr>
        <p:spPr>
          <a:xfrm>
            <a:off x="3448041" y="3748851"/>
            <a:ext cx="1101449" cy="6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stCxn id="82" idx="3"/>
            <a:endCxn id="109" idx="1"/>
          </p:cNvCxnSpPr>
          <p:nvPr/>
        </p:nvCxnSpPr>
        <p:spPr>
          <a:xfrm>
            <a:off x="3451321" y="4418926"/>
            <a:ext cx="1098169" cy="5692"/>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92" idx="3"/>
            <a:endCxn id="110" idx="1"/>
          </p:cNvCxnSpPr>
          <p:nvPr/>
        </p:nvCxnSpPr>
        <p:spPr>
          <a:xfrm>
            <a:off x="3448040" y="5091245"/>
            <a:ext cx="1089260" cy="237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a:stCxn id="95" idx="3"/>
            <a:endCxn id="89" idx="1"/>
          </p:cNvCxnSpPr>
          <p:nvPr/>
        </p:nvCxnSpPr>
        <p:spPr>
          <a:xfrm flipV="1">
            <a:off x="3448040" y="5759798"/>
            <a:ext cx="1079215" cy="3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60193922-0C6D-4057-A37A-E3FB279A288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600</a:t>
            </a:r>
          </a:p>
        </p:txBody>
      </p:sp>
      <p:grpSp>
        <p:nvGrpSpPr>
          <p:cNvPr id="162" name="Group 161">
            <a:extLst>
              <a:ext uri="{FF2B5EF4-FFF2-40B4-BE49-F238E27FC236}">
                <a16:creationId xmlns:a16="http://schemas.microsoft.com/office/drawing/2014/main" id="{5E8DA5D0-2B5F-475F-92C9-A77C7CACA41E}"/>
              </a:ext>
            </a:extLst>
          </p:cNvPr>
          <p:cNvGrpSpPr>
            <a:grpSpLocks noChangeAspect="1"/>
          </p:cNvGrpSpPr>
          <p:nvPr/>
        </p:nvGrpSpPr>
        <p:grpSpPr>
          <a:xfrm>
            <a:off x="379044" y="240226"/>
            <a:ext cx="385625" cy="553998"/>
            <a:chOff x="10785485" y="3375598"/>
            <a:chExt cx="455613" cy="604838"/>
          </a:xfrm>
        </p:grpSpPr>
        <p:sp>
          <p:nvSpPr>
            <p:cNvPr id="163" name="Freeform 80">
              <a:extLst>
                <a:ext uri="{FF2B5EF4-FFF2-40B4-BE49-F238E27FC236}">
                  <a16:creationId xmlns:a16="http://schemas.microsoft.com/office/drawing/2014/main" id="{A3B9CBD8-63EF-411E-9CDE-E6A4EE9133C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81">
              <a:extLst>
                <a:ext uri="{FF2B5EF4-FFF2-40B4-BE49-F238E27FC236}">
                  <a16:creationId xmlns:a16="http://schemas.microsoft.com/office/drawing/2014/main" id="{8795F54C-33E2-4611-B16E-E80B552ACC2E}"/>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82">
              <a:extLst>
                <a:ext uri="{FF2B5EF4-FFF2-40B4-BE49-F238E27FC236}">
                  <a16:creationId xmlns:a16="http://schemas.microsoft.com/office/drawing/2014/main" id="{CCFA7C37-BE06-43EE-9C24-DD42C372B934}"/>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83">
              <a:extLst>
                <a:ext uri="{FF2B5EF4-FFF2-40B4-BE49-F238E27FC236}">
                  <a16:creationId xmlns:a16="http://schemas.microsoft.com/office/drawing/2014/main" id="{429B8CBB-9E1D-4FB8-8254-871024A5CD5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84">
              <a:extLst>
                <a:ext uri="{FF2B5EF4-FFF2-40B4-BE49-F238E27FC236}">
                  <a16:creationId xmlns:a16="http://schemas.microsoft.com/office/drawing/2014/main" id="{9175687A-B482-44E5-AC32-21397F33298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85">
              <a:extLst>
                <a:ext uri="{FF2B5EF4-FFF2-40B4-BE49-F238E27FC236}">
                  <a16:creationId xmlns:a16="http://schemas.microsoft.com/office/drawing/2014/main" id="{46F654E4-81F2-47C6-9E76-421D13AE1B1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86">
              <a:extLst>
                <a:ext uri="{FF2B5EF4-FFF2-40B4-BE49-F238E27FC236}">
                  <a16:creationId xmlns:a16="http://schemas.microsoft.com/office/drawing/2014/main" id="{CCA52BB8-3550-4763-8CB7-8EE9D3C1E65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87">
              <a:extLst>
                <a:ext uri="{FF2B5EF4-FFF2-40B4-BE49-F238E27FC236}">
                  <a16:creationId xmlns:a16="http://schemas.microsoft.com/office/drawing/2014/main" id="{BA0D7D11-5668-48AD-B24B-4CFA78755AE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88">
              <a:extLst>
                <a:ext uri="{FF2B5EF4-FFF2-40B4-BE49-F238E27FC236}">
                  <a16:creationId xmlns:a16="http://schemas.microsoft.com/office/drawing/2014/main" id="{C6BE1A3E-C479-46A8-BA44-192725EA5373}"/>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89">
              <a:extLst>
                <a:ext uri="{FF2B5EF4-FFF2-40B4-BE49-F238E27FC236}">
                  <a16:creationId xmlns:a16="http://schemas.microsoft.com/office/drawing/2014/main" id="{06342D54-86F2-4CCE-952A-5362CC153F3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90">
              <a:extLst>
                <a:ext uri="{FF2B5EF4-FFF2-40B4-BE49-F238E27FC236}">
                  <a16:creationId xmlns:a16="http://schemas.microsoft.com/office/drawing/2014/main" id="{27AF0922-98AA-42F9-A5E5-97F2BF4923D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91">
              <a:extLst>
                <a:ext uri="{FF2B5EF4-FFF2-40B4-BE49-F238E27FC236}">
                  <a16:creationId xmlns:a16="http://schemas.microsoft.com/office/drawing/2014/main" id="{6614DB76-E1AE-4FF0-9430-B24591A93F5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92">
              <a:extLst>
                <a:ext uri="{FF2B5EF4-FFF2-40B4-BE49-F238E27FC236}">
                  <a16:creationId xmlns:a16="http://schemas.microsoft.com/office/drawing/2014/main" id="{261A6958-AD1D-4B05-A7E2-B76DC32E04B2}"/>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93">
              <a:extLst>
                <a:ext uri="{FF2B5EF4-FFF2-40B4-BE49-F238E27FC236}">
                  <a16:creationId xmlns:a16="http://schemas.microsoft.com/office/drawing/2014/main" id="{5A998FB4-F81F-4638-83FC-8FD39420C1B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94">
              <a:extLst>
                <a:ext uri="{FF2B5EF4-FFF2-40B4-BE49-F238E27FC236}">
                  <a16:creationId xmlns:a16="http://schemas.microsoft.com/office/drawing/2014/main" id="{4AEF917C-498B-4D37-95C8-1F1A078B09D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Rectangle 189">
              <a:extLst>
                <a:ext uri="{FF2B5EF4-FFF2-40B4-BE49-F238E27FC236}">
                  <a16:creationId xmlns:a16="http://schemas.microsoft.com/office/drawing/2014/main" id="{4E1A4BB7-8BCB-4103-B0A8-66056F033683}"/>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Rectangle 190">
              <a:extLst>
                <a:ext uri="{FF2B5EF4-FFF2-40B4-BE49-F238E27FC236}">
                  <a16:creationId xmlns:a16="http://schemas.microsoft.com/office/drawing/2014/main" id="{88812941-B288-4792-A18A-74EC3F2689FC}"/>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5835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APS</a:t>
            </a:r>
            <a:r>
              <a:rPr lang="en-US" sz="4000">
                <a:solidFill>
                  <a:srgbClr val="FFFFFF"/>
                </a:solidFill>
                <a:latin typeface="Segoe UI Light" panose="020B0502040204020203" pitchFamily="34" charset="0"/>
                <a:cs typeface="Segoe UI Light" panose="020B0502040204020203" pitchFamily="34" charset="0"/>
              </a:rPr>
              <a:t> &amp; </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W Major Differenc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800" b="0" i="0" u="none" strike="noStrike" kern="1200" cap="none" spc="0" normalizeH="0" baseline="0" noProof="0">
              <a:ln>
                <a:noFill/>
              </a:ln>
              <a:solidFill>
                <a:srgbClr val="000000"/>
              </a:solidFill>
              <a:effectLst/>
              <a:uLnTx/>
              <a:uFillTx/>
              <a:latin typeface="Segoe UI Light"/>
              <a:ea typeface="ＭＳ Ｐゴシック" charset="0"/>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911758"/>
            <a:ext cx="10227365" cy="5683607"/>
          </a:xfrm>
          <a:prstGeom prst="rect">
            <a:avLst/>
          </a:prstGeom>
        </p:spPr>
        <p:txBody>
          <a:bodyPr wrap="square">
            <a:spAutoFit/>
          </a:bodyPr>
          <a:lstStyle/>
          <a:p>
            <a:pPr marL="148572" marR="0" lvl="0" indent="0" algn="l" defTabSz="914400" rtl="0" eaLnBrk="1" fontAlgn="auto" latinLnBrk="0" hangingPunct="1">
              <a:lnSpc>
                <a:spcPct val="100000"/>
              </a:lnSpc>
              <a:spcBef>
                <a:spcPts val="0"/>
              </a:spcBef>
              <a:spcAft>
                <a:spcPts val="200"/>
              </a:spcAft>
              <a:buClr>
                <a:srgbClr val="8E0000"/>
              </a:buClr>
              <a:buSzPct val="110000"/>
              <a:buFontTx/>
              <a:buNone/>
              <a:tabLst/>
              <a:defRPr/>
            </a:pPr>
            <a:r>
              <a:rPr kumimoji="0" lang="en-US" sz="2000" b="1" i="0" u="none" strike="noStrike" kern="0" cap="none" spc="0" normalizeH="0" baseline="0" noProof="0" dirty="0">
                <a:ln>
                  <a:noFill/>
                </a:ln>
                <a:solidFill>
                  <a:srgbClr val="000000"/>
                </a:solidFill>
                <a:effectLst/>
                <a:uLnTx/>
                <a:uFillTx/>
                <a:latin typeface="Segoe UI"/>
                <a:ea typeface="+mn-ea"/>
                <a:cs typeface="+mn-cs"/>
              </a:rPr>
              <a:t>APS:</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2 – 56</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vary from 16 – 448</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depend on version install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date based on APS time zone</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Multiple Databases</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Default Index – HEAP</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DWLoader</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mn-cs"/>
              </a:rPr>
              <a:t>  Azure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1 –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are Static at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 What’s currently available on Azure SQL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only UTC Time.  Can’t be chang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ingle Database</a:t>
            </a:r>
          </a:p>
          <a:p>
            <a:pPr marL="765792" indent="-342900">
              <a:spcAft>
                <a:spcPts val="200"/>
              </a:spcAft>
              <a:buClr>
                <a:srgbClr val="000000"/>
              </a:buClr>
              <a:buSzPct val="110000"/>
              <a:buFont typeface="Arial" panose="020B0604020202020204" pitchFamily="34" charset="0"/>
              <a:buChar char="•"/>
              <a:defRPr/>
            </a:pPr>
            <a:r>
              <a:rPr lang="en-US" sz="2000" kern="0" dirty="0">
                <a:solidFill>
                  <a:srgbClr val="000000"/>
                </a:solidFill>
              </a:rPr>
              <a:t>Default Index – Clustered Column Store (CCI)</a:t>
            </a:r>
          </a:p>
          <a:p>
            <a:pPr marL="765792" indent="-342900">
              <a:spcAft>
                <a:spcPts val="200"/>
              </a:spcAft>
              <a:buClr>
                <a:srgbClr val="000000"/>
              </a:buClr>
              <a:buSzPct val="110000"/>
              <a:buFont typeface="Arial" panose="020B0604020202020204" pitchFamily="34" charset="0"/>
              <a:buChar char="•"/>
              <a:defRPr/>
            </a:pPr>
            <a:r>
              <a:rPr lang="en-US" sz="2000" b="1" kern="0" dirty="0">
                <a:solidFill>
                  <a:srgbClr val="000000"/>
                </a:solidFill>
              </a:rPr>
              <a:t>No </a:t>
            </a:r>
            <a:r>
              <a:rPr lang="en-US" sz="2000" b="1" kern="0" dirty="0" err="1">
                <a:solidFill>
                  <a:srgbClr val="000000"/>
                </a:solidFill>
              </a:rPr>
              <a:t>DWLoader</a:t>
            </a:r>
            <a:r>
              <a:rPr lang="en-US" sz="2000" b="1" kern="0" dirty="0">
                <a:solidFill>
                  <a:srgbClr val="000000"/>
                </a:solidFill>
              </a:rPr>
              <a:t>  - SQL DW Upload Task in SSIS (SSIS Azure Feature pack)</a:t>
            </a:r>
          </a:p>
        </p:txBody>
      </p:sp>
    </p:spTree>
    <p:extLst>
      <p:ext uri="{BB962C8B-B14F-4D97-AF65-F5344CB8AC3E}">
        <p14:creationId xmlns:p14="http://schemas.microsoft.com/office/powerpoint/2010/main" val="17851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eta Data Migration </a:t>
            </a:r>
            <a:r>
              <a:rPr lang="en-US" sz="4000" dirty="0">
                <a:solidFill>
                  <a:srgbClr val="FFFFFF"/>
                </a:solidFill>
                <a:latin typeface="Segoe UI Light" panose="020B0502040204020203" pitchFamily="34" charset="0"/>
                <a:cs typeface="Segoe UI Light" panose="020B0502040204020203" pitchFamily="34" charset="0"/>
              </a:rPr>
              <a:t>(DB based vs. Schema Based)</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1">
            <a:extLst>
              <a:ext uri="{FF2B5EF4-FFF2-40B4-BE49-F238E27FC236}">
                <a16:creationId xmlns:a16="http://schemas.microsoft.com/office/drawing/2014/main" id="{2A474296-F42B-4081-9A06-A92CE9EFD45F}"/>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The </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ADF version 1 provides monitoring, alert, and notification capabilities out of the box. An example ADF monitoring dashboard is illustrated in </a:t>
            </a:r>
            <a:r>
              <a:rPr kumimoji="0" lang="en-US"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Figure 4</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 The ADF monitoring dashboard provides an overview on the execution results of completed (or attempted) activities. From the dashboard, you can assess the overall operational health of the ADF and quickly identify any failed operations.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43" name="Rounded Rectangle 5">
            <a:extLst>
              <a:ext uri="{FF2B5EF4-FFF2-40B4-BE49-F238E27FC236}">
                <a16:creationId xmlns:a16="http://schemas.microsoft.com/office/drawing/2014/main" id="{81F9DBED-6153-4744-9BAA-9014A3107164}"/>
              </a:ext>
            </a:extLst>
          </p:cNvPr>
          <p:cNvSpPr/>
          <p:nvPr/>
        </p:nvSpPr>
        <p:spPr>
          <a:xfrm>
            <a:off x="9093074" y="1293351"/>
            <a:ext cx="2279216"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sp>
        <p:nvSpPr>
          <p:cNvPr id="44" name="Rounded Rectangle 5">
            <a:extLst>
              <a:ext uri="{FF2B5EF4-FFF2-40B4-BE49-F238E27FC236}">
                <a16:creationId xmlns:a16="http://schemas.microsoft.com/office/drawing/2014/main" id="{536092A5-9945-4C5B-A0A4-80490ED4AADE}"/>
              </a:ext>
            </a:extLst>
          </p:cNvPr>
          <p:cNvSpPr/>
          <p:nvPr/>
        </p:nvSpPr>
        <p:spPr>
          <a:xfrm>
            <a:off x="5628968" y="1293351"/>
            <a:ext cx="3121742"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pic>
        <p:nvPicPr>
          <p:cNvPr id="45" name="Picture 44">
            <a:extLst>
              <a:ext uri="{FF2B5EF4-FFF2-40B4-BE49-F238E27FC236}">
                <a16:creationId xmlns:a16="http://schemas.microsoft.com/office/drawing/2014/main" id="{FCE063D2-233F-47B1-B0C0-FD8BFEF3D48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5872524" y="1555720"/>
            <a:ext cx="541869" cy="704479"/>
          </a:xfrm>
          <a:prstGeom prst="rect">
            <a:avLst/>
          </a:prstGeom>
        </p:spPr>
      </p:pic>
      <p:sp>
        <p:nvSpPr>
          <p:cNvPr id="46" name="TextBox 5">
            <a:extLst>
              <a:ext uri="{FF2B5EF4-FFF2-40B4-BE49-F238E27FC236}">
                <a16:creationId xmlns:a16="http://schemas.microsoft.com/office/drawing/2014/main" id="{766FA7AC-C1E1-431B-ACEC-1A97B4CB5927}"/>
              </a:ext>
            </a:extLst>
          </p:cNvPr>
          <p:cNvSpPr txBox="1"/>
          <p:nvPr/>
        </p:nvSpPr>
        <p:spPr>
          <a:xfrm>
            <a:off x="5628967" y="2247179"/>
            <a:ext cx="840659"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PS </a:t>
            </a:r>
          </a:p>
          <a:p>
            <a:pPr algn="ctr" defTabSz="914400">
              <a:defRPr/>
            </a:pPr>
            <a:r>
              <a:rPr lang="en-US" sz="1200" b="1" kern="0" dirty="0">
                <a:solidFill>
                  <a:prstClr val="black"/>
                </a:solidFill>
                <a:latin typeface="Calibri" panose="020F0502020204030204"/>
              </a:rPr>
              <a:t>Appliance</a:t>
            </a:r>
          </a:p>
        </p:txBody>
      </p:sp>
      <p:sp>
        <p:nvSpPr>
          <p:cNvPr id="47" name="TextBox 49">
            <a:extLst>
              <a:ext uri="{FF2B5EF4-FFF2-40B4-BE49-F238E27FC236}">
                <a16:creationId xmlns:a16="http://schemas.microsoft.com/office/drawing/2014/main" id="{8CEBEE51-E57E-4825-AC27-E6940E6DE290}"/>
              </a:ext>
            </a:extLst>
          </p:cNvPr>
          <p:cNvSpPr txBox="1"/>
          <p:nvPr/>
        </p:nvSpPr>
        <p:spPr>
          <a:xfrm>
            <a:off x="10648059" y="2078454"/>
            <a:ext cx="799353"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zure</a:t>
            </a:r>
          </a:p>
          <a:p>
            <a:pPr algn="ctr" defTabSz="914400">
              <a:defRPr/>
            </a:pPr>
            <a:r>
              <a:rPr lang="en-US" sz="1200" b="1" kern="0" dirty="0">
                <a:solidFill>
                  <a:prstClr val="black"/>
                </a:solidFill>
                <a:latin typeface="Calibri" panose="020F0502020204030204"/>
              </a:rPr>
              <a:t>SQL DW</a:t>
            </a:r>
            <a:endParaRPr lang="en-US" sz="1100" kern="0" dirty="0">
              <a:solidFill>
                <a:prstClr val="black"/>
              </a:solidFill>
              <a:latin typeface="Calibri" panose="020F0502020204030204"/>
            </a:endParaRPr>
          </a:p>
        </p:txBody>
      </p:sp>
      <p:sp>
        <p:nvSpPr>
          <p:cNvPr id="48" name="Flowchart: Magnetic Disk 47">
            <a:extLst>
              <a:ext uri="{FF2B5EF4-FFF2-40B4-BE49-F238E27FC236}">
                <a16:creationId xmlns:a16="http://schemas.microsoft.com/office/drawing/2014/main" id="{0EE0369D-97C3-490F-9B5F-13188EC9582C}"/>
              </a:ext>
            </a:extLst>
          </p:cNvPr>
          <p:cNvSpPr/>
          <p:nvPr/>
        </p:nvSpPr>
        <p:spPr>
          <a:xfrm>
            <a:off x="6504038" y="1934229"/>
            <a:ext cx="1737360" cy="461962"/>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W</a:t>
            </a:r>
            <a:endParaRPr lang="en-US" dirty="0"/>
          </a:p>
        </p:txBody>
      </p:sp>
      <p:sp>
        <p:nvSpPr>
          <p:cNvPr id="49" name="Flowchart: Magnetic Disk 48">
            <a:extLst>
              <a:ext uri="{FF2B5EF4-FFF2-40B4-BE49-F238E27FC236}">
                <a16:creationId xmlns:a16="http://schemas.microsoft.com/office/drawing/2014/main" id="{3BF0BB40-E80C-41FE-B659-FFDF761AC7C7}"/>
              </a:ext>
            </a:extLst>
          </p:cNvPr>
          <p:cNvSpPr/>
          <p:nvPr/>
        </p:nvSpPr>
        <p:spPr>
          <a:xfrm>
            <a:off x="9463446" y="1785821"/>
            <a:ext cx="1259734" cy="1335087"/>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400" dirty="0">
                <a:solidFill>
                  <a:prstClr val="white"/>
                </a:solidFill>
                <a:latin typeface="Calibri" panose="020F0502020204030204"/>
              </a:rPr>
              <a:t>Combined into one Single DB: </a:t>
            </a:r>
            <a:r>
              <a:rPr lang="en-US" sz="1400" b="1" dirty="0">
                <a:solidFill>
                  <a:srgbClr val="FF9900"/>
                </a:solidFill>
                <a:latin typeface="Calibri" panose="020F0502020204030204"/>
              </a:rPr>
              <a:t>NCDB</a:t>
            </a:r>
            <a:endParaRPr lang="en-US" b="1" dirty="0">
              <a:solidFill>
                <a:srgbClr val="FF9900"/>
              </a:solidFill>
            </a:endParaRPr>
          </a:p>
        </p:txBody>
      </p:sp>
      <p:cxnSp>
        <p:nvCxnSpPr>
          <p:cNvPr id="50" name="Straight Arrow Connector 49">
            <a:extLst>
              <a:ext uri="{FF2B5EF4-FFF2-40B4-BE49-F238E27FC236}">
                <a16:creationId xmlns:a16="http://schemas.microsoft.com/office/drawing/2014/main" id="{75A656EB-73C8-4573-9C9B-5677DD4FC818}"/>
              </a:ext>
            </a:extLst>
          </p:cNvPr>
          <p:cNvCxnSpPr>
            <a:cxnSpLocks/>
            <a:stCxn id="53" idx="4"/>
          </p:cNvCxnSpPr>
          <p:nvPr/>
        </p:nvCxnSpPr>
        <p:spPr>
          <a:xfrm>
            <a:off x="8241398" y="1615614"/>
            <a:ext cx="1222048" cy="462840"/>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CBC769E-EA08-43B3-B2BB-FC9C2796B41E}"/>
              </a:ext>
            </a:extLst>
          </p:cNvPr>
          <p:cNvCxnSpPr>
            <a:cxnSpLocks/>
            <a:stCxn id="54" idx="4"/>
            <a:endCxn id="49" idx="2"/>
          </p:cNvCxnSpPr>
          <p:nvPr/>
        </p:nvCxnSpPr>
        <p:spPr>
          <a:xfrm flipV="1">
            <a:off x="8241398" y="2453365"/>
            <a:ext cx="1222048" cy="26144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19461C1-D5E1-48A8-BDEA-4D24A276BC12}"/>
              </a:ext>
            </a:extLst>
          </p:cNvPr>
          <p:cNvCxnSpPr>
            <a:cxnSpLocks/>
            <a:stCxn id="48" idx="4"/>
          </p:cNvCxnSpPr>
          <p:nvPr/>
        </p:nvCxnSpPr>
        <p:spPr>
          <a:xfrm>
            <a:off x="8241398" y="2165210"/>
            <a:ext cx="1222048" cy="94989"/>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53" name="Flowchart: Magnetic Disk 52">
            <a:extLst>
              <a:ext uri="{FF2B5EF4-FFF2-40B4-BE49-F238E27FC236}">
                <a16:creationId xmlns:a16="http://schemas.microsoft.com/office/drawing/2014/main" id="{57FAFE32-C445-4598-95B4-FBA7F964B8F0}"/>
              </a:ext>
            </a:extLst>
          </p:cNvPr>
          <p:cNvSpPr/>
          <p:nvPr/>
        </p:nvSpPr>
        <p:spPr>
          <a:xfrm>
            <a:off x="6504038" y="1383839"/>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ST</a:t>
            </a:r>
            <a:endParaRPr lang="en-US" dirty="0"/>
          </a:p>
        </p:txBody>
      </p:sp>
      <p:sp>
        <p:nvSpPr>
          <p:cNvPr id="54" name="Flowchart: Magnetic Disk 53">
            <a:extLst>
              <a:ext uri="{FF2B5EF4-FFF2-40B4-BE49-F238E27FC236}">
                <a16:creationId xmlns:a16="http://schemas.microsoft.com/office/drawing/2014/main" id="{A5C7DD18-3E4B-44E4-9600-F644727A7FD0}"/>
              </a:ext>
            </a:extLst>
          </p:cNvPr>
          <p:cNvSpPr/>
          <p:nvPr/>
        </p:nvSpPr>
        <p:spPr>
          <a:xfrm>
            <a:off x="6504038" y="2483031"/>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M</a:t>
            </a:r>
          </a:p>
        </p:txBody>
      </p:sp>
      <p:pic>
        <p:nvPicPr>
          <p:cNvPr id="55" name="Picture 54">
            <a:extLst>
              <a:ext uri="{FF2B5EF4-FFF2-40B4-BE49-F238E27FC236}">
                <a16:creationId xmlns:a16="http://schemas.microsoft.com/office/drawing/2014/main" id="{8831BB81-59A1-45A1-9640-F53B059F6B2D}"/>
              </a:ext>
            </a:extLst>
          </p:cNvPr>
          <p:cNvPicPr>
            <a:picLocks noChangeAspect="1"/>
          </p:cNvPicPr>
          <p:nvPr/>
        </p:nvPicPr>
        <p:blipFill>
          <a:blip r:embed="rId6"/>
          <a:stretch>
            <a:fillRect/>
          </a:stretch>
        </p:blipFill>
        <p:spPr>
          <a:xfrm>
            <a:off x="10604465" y="1303330"/>
            <a:ext cx="630753" cy="629165"/>
          </a:xfrm>
          <a:prstGeom prst="rect">
            <a:avLst/>
          </a:prstGeom>
        </p:spPr>
      </p:pic>
      <p:sp>
        <p:nvSpPr>
          <p:cNvPr id="56" name="Flowchart: Magnetic Disk 55">
            <a:extLst>
              <a:ext uri="{FF2B5EF4-FFF2-40B4-BE49-F238E27FC236}">
                <a16:creationId xmlns:a16="http://schemas.microsoft.com/office/drawing/2014/main" id="{5699903F-CC78-4535-9296-F47421DBC141}"/>
              </a:ext>
            </a:extLst>
          </p:cNvPr>
          <p:cNvSpPr/>
          <p:nvPr/>
        </p:nvSpPr>
        <p:spPr>
          <a:xfrm>
            <a:off x="6504038" y="3033420"/>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FINANCE</a:t>
            </a:r>
          </a:p>
        </p:txBody>
      </p:sp>
      <p:cxnSp>
        <p:nvCxnSpPr>
          <p:cNvPr id="58" name="Straight Arrow Connector 57">
            <a:extLst>
              <a:ext uri="{FF2B5EF4-FFF2-40B4-BE49-F238E27FC236}">
                <a16:creationId xmlns:a16="http://schemas.microsoft.com/office/drawing/2014/main" id="{AF4DC829-E1B8-4D59-A29B-4D68C70F0DBC}"/>
              </a:ext>
            </a:extLst>
          </p:cNvPr>
          <p:cNvCxnSpPr>
            <a:cxnSpLocks/>
            <a:stCxn id="56" idx="4"/>
          </p:cNvCxnSpPr>
          <p:nvPr/>
        </p:nvCxnSpPr>
        <p:spPr>
          <a:xfrm flipV="1">
            <a:off x="8241398" y="2708844"/>
            <a:ext cx="1222048" cy="55635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7DB2FC2-7AE9-4451-A92A-28E30F315EE5}"/>
              </a:ext>
            </a:extLst>
          </p:cNvPr>
          <p:cNvSpPr txBox="1"/>
          <p:nvPr/>
        </p:nvSpPr>
        <p:spPr>
          <a:xfrm>
            <a:off x="744588" y="1201975"/>
            <a:ext cx="4533871" cy="5078313"/>
          </a:xfrm>
          <a:prstGeom prst="rect">
            <a:avLst/>
          </a:prstGeom>
          <a:noFill/>
        </p:spPr>
        <p:txBody>
          <a:bodyPr wrap="square" rtlCol="0">
            <a:spAutoFit/>
          </a:bodyPr>
          <a:lstStyle/>
          <a:p>
            <a:r>
              <a:rPr lang="en-GB" dirty="0"/>
              <a:t>APS is an instance level service that supports multiple databases. </a:t>
            </a:r>
            <a:r>
              <a:rPr lang="en-GB" b="1" dirty="0">
                <a:solidFill>
                  <a:srgbClr val="0000CC"/>
                </a:solidFill>
              </a:rPr>
              <a:t>Azure SQL DW is a database-level service that has one database per instance.  </a:t>
            </a:r>
          </a:p>
          <a:p>
            <a:endParaRPr lang="en-GB" b="1" dirty="0"/>
          </a:p>
          <a:p>
            <a:r>
              <a:rPr lang="en-GB" dirty="0"/>
              <a:t>In order to migrate APS code and data into SQLDW, DB name and schema name must be changed.</a:t>
            </a:r>
          </a:p>
          <a:p>
            <a:endParaRPr lang="en-GB" b="1" dirty="0"/>
          </a:p>
          <a:p>
            <a:r>
              <a:rPr lang="en-GB" dirty="0"/>
              <a:t>An example is shown on the right to illustrate the changes. </a:t>
            </a:r>
          </a:p>
          <a:p>
            <a:endParaRPr lang="en-GB" dirty="0"/>
          </a:p>
          <a:p>
            <a:r>
              <a:rPr lang="en-GB" dirty="0">
                <a:solidFill>
                  <a:srgbClr val="0000CC"/>
                </a:solidFill>
              </a:rPr>
              <a:t>After the new DB name and schema names are determined, all meta data (DDLs &amp; DMLs: Tables, Views) and code  (Stored Procedures) must be modified accordingly. Then the new DDLs, DMLs, and SPs can be installed in SQLDW. </a:t>
            </a:r>
          </a:p>
        </p:txBody>
      </p:sp>
      <p:graphicFrame>
        <p:nvGraphicFramePr>
          <p:cNvPr id="62" name="Table 61">
            <a:extLst>
              <a:ext uri="{FF2B5EF4-FFF2-40B4-BE49-F238E27FC236}">
                <a16:creationId xmlns:a16="http://schemas.microsoft.com/office/drawing/2014/main" id="{7BE27EDE-3062-4965-8711-1DE87AEA5DDD}"/>
              </a:ext>
            </a:extLst>
          </p:cNvPr>
          <p:cNvGraphicFramePr>
            <a:graphicFrameLocks noGrp="1"/>
          </p:cNvGraphicFramePr>
          <p:nvPr>
            <p:extLst/>
          </p:nvPr>
        </p:nvGraphicFramePr>
        <p:xfrm>
          <a:off x="5628967" y="3849252"/>
          <a:ext cx="5663461" cy="2701635"/>
        </p:xfrm>
        <a:graphic>
          <a:graphicData uri="http://schemas.openxmlformats.org/drawingml/2006/table">
            <a:tbl>
              <a:tblPr firstRow="1" firstCol="1" bandRow="1"/>
              <a:tblGrid>
                <a:gridCol w="1269590">
                  <a:extLst>
                    <a:ext uri="{9D8B030D-6E8A-4147-A177-3AD203B41FA5}">
                      <a16:colId xmlns:a16="http://schemas.microsoft.com/office/drawing/2014/main" val="144731191"/>
                    </a:ext>
                  </a:extLst>
                </a:gridCol>
                <a:gridCol w="1177248">
                  <a:extLst>
                    <a:ext uri="{9D8B030D-6E8A-4147-A177-3AD203B41FA5}">
                      <a16:colId xmlns:a16="http://schemas.microsoft.com/office/drawing/2014/main" val="3345101638"/>
                    </a:ext>
                  </a:extLst>
                </a:gridCol>
                <a:gridCol w="1208210">
                  <a:extLst>
                    <a:ext uri="{9D8B030D-6E8A-4147-A177-3AD203B41FA5}">
                      <a16:colId xmlns:a16="http://schemas.microsoft.com/office/drawing/2014/main" val="1069601268"/>
                    </a:ext>
                  </a:extLst>
                </a:gridCol>
                <a:gridCol w="2008413">
                  <a:extLst>
                    <a:ext uri="{9D8B030D-6E8A-4147-A177-3AD203B41FA5}">
                      <a16:colId xmlns:a16="http://schemas.microsoft.com/office/drawing/2014/main" val="4261950887"/>
                    </a:ext>
                  </a:extLst>
                </a:gridCol>
              </a:tblGrid>
              <a:tr h="678275">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Databas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Schema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DB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Schema Name  </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extLst>
                  <a:ext uri="{0D108BD9-81ED-4DB2-BD59-A6C34878D82A}">
                    <a16:rowId xmlns:a16="http://schemas.microsoft.com/office/drawing/2014/main" val="147815943"/>
                  </a:ext>
                </a:extLst>
              </a:tr>
              <a:tr h="669602">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4443896"/>
                  </a:ext>
                </a:extLst>
              </a:tr>
              <a:tr h="334800">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 </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endPar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_DBO</a:t>
                      </a:r>
                      <a:endPar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898120"/>
                  </a:ext>
                </a:extLst>
              </a:tr>
              <a:tr h="334800">
                <a:tc>
                  <a:txBody>
                    <a:bodyPr/>
                    <a:lstStyle/>
                    <a:p>
                      <a:pPr marL="0" marR="0">
                        <a:lnSpc>
                          <a:spcPct val="115000"/>
                        </a:lnSpc>
                        <a:spcBef>
                          <a:spcPts val="600"/>
                        </a:spcBef>
                        <a:spcAft>
                          <a:spcPts val="600"/>
                        </a:spcAft>
                      </a:pPr>
                      <a:r>
                        <a:rPr lang="en-US"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2839477"/>
                  </a:ext>
                </a:extLst>
              </a:tr>
              <a:tr h="684158">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N</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_F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8544329"/>
                  </a:ext>
                </a:extLst>
              </a:tr>
            </a:tbl>
          </a:graphicData>
        </a:graphic>
      </p:graphicFrame>
    </p:spTree>
    <p:extLst>
      <p:ext uri="{BB962C8B-B14F-4D97-AF65-F5344CB8AC3E}">
        <p14:creationId xmlns:p14="http://schemas.microsoft.com/office/powerpoint/2010/main" val="278257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6"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97647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5400" dirty="0">
                <a:solidFill>
                  <a:prstClr val="white"/>
                </a:solidFill>
                <a:latin typeface="Segoe UI Light" panose="020B0502040204020203" pitchFamily="34" charset="0"/>
                <a:ea typeface="Segoe UI" pitchFamily="34" charset="0"/>
                <a:cs typeface="Segoe UI Light" panose="020B0502040204020203" pitchFamily="34" charset="0"/>
              </a:rPr>
              <a:t>Process &amp; Options</a:t>
            </a:r>
            <a:endParaRPr kumimoji="0" lang="en-US" sz="5400" b="0" i="0" u="none" strike="noStrike" kern="120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dirty="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5423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 – </a:t>
            </a:r>
            <a:r>
              <a:rPr lang="en-US" sz="4000">
                <a:solidFill>
                  <a:srgbClr val="FFFFFF"/>
                </a:solidFill>
                <a:latin typeface="Segoe UI Light" panose="020B0502040204020203" pitchFamily="34" charset="0"/>
                <a:cs typeface="Segoe UI Light" panose="020B0502040204020203" pitchFamily="34" charset="0"/>
              </a:rPr>
              <a:t>AP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11878761" cy="59093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following items need to be migrated from APS to SQLDW.</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DL (Tab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Code </a:t>
            </a:r>
            <a:r>
              <a:rPr kumimoji="0" lang="en-US" sz="1800" b="0" i="0" u="none" strike="noStrike" kern="1200" cap="none" spc="0" normalizeH="0" baseline="0" noProof="0" dirty="0">
                <a:ln>
                  <a:noFill/>
                </a:ln>
                <a:effectLst/>
                <a:uLnTx/>
                <a:uFillTx/>
                <a:latin typeface="Segoe"/>
                <a:cs typeface="Segoe UI Light" panose="020B0502040204020203" pitchFamily="34" charset="0"/>
              </a:rPr>
              <a:t>(Stored Procedures, Views and ETL proces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DDL and DML can be migrated using internal tools available from MS </a:t>
            </a:r>
            <a:r>
              <a:rPr lang="en-US" dirty="0">
                <a:solidFill>
                  <a:prstClr val="black"/>
                </a:solidFill>
                <a:latin typeface="Segoe"/>
                <a:cs typeface="Segoe UI Light" panose="020B0502040204020203" pitchFamily="34" charset="0"/>
              </a:rPr>
              <a:t>(APS </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Migration Tools and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DWScripter</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 will need to be migrated by ha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o migrate the Data to Azure, several approaches can be taken.  Each approach has a set of prerequisites as well as pros and cons.  Each method should be weighed against the customers environment, data load frequency and security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 Migration Approa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BCP data out of APS –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Polybase</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data into SQLDW from W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Polybase data out of APS to Azure Storage </a:t>
            </a:r>
            <a:r>
              <a:rPr kumimoji="0" lang="en-US" sz="1800" b="0" i="0" u="none" strike="noStrike" kern="1200" cap="none" spc="0" normalizeH="0" baseline="0" noProof="0" dirty="0">
                <a:ln>
                  <a:noFill/>
                </a:ln>
                <a:effectLst/>
                <a:uLnTx/>
                <a:uFillTx/>
                <a:latin typeface="Segoe"/>
                <a:cs typeface="Segoe UI Light" panose="020B0502040204020203" pitchFamily="34" charset="0"/>
              </a:rPr>
              <a:t>Blob</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 Polybase data into SQLDW from 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SIS – Source(APS) Destination(SQLDW) </a:t>
            </a:r>
            <a:endParaRPr lang="en-US" dirty="0">
              <a:solidFill>
                <a:srgbClr val="0000FF"/>
              </a:solidFill>
              <a:latin typeface="Segoe"/>
              <a:cs typeface="Segoe UI Light"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DF – Extract data from APS to SQLDW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Import Export Service</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p:txBody>
      </p:sp>
    </p:spTree>
    <p:extLst>
      <p:ext uri="{BB962C8B-B14F-4D97-AF65-F5344CB8AC3E}">
        <p14:creationId xmlns:p14="http://schemas.microsoft.com/office/powerpoint/2010/main" val="86303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ask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76159" y="4855573"/>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2634294" y="1146826"/>
            <a:ext cx="1614403" cy="1358572"/>
            <a:chOff x="1988743" y="1249190"/>
            <a:chExt cx="2934561" cy="2111043"/>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34561" cy="2111043"/>
              <a:chOff x="1924735" y="938294"/>
              <a:chExt cx="2934561" cy="2111043"/>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34561" cy="1680264"/>
                <a:chOff x="1924735" y="1369073"/>
                <a:chExt cx="2934561" cy="1680264"/>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5" name="Arrow: Right 64">
            <a:extLst>
              <a:ext uri="{FF2B5EF4-FFF2-40B4-BE49-F238E27FC236}">
                <a16:creationId xmlns:a16="http://schemas.microsoft.com/office/drawing/2014/main" id="{29D72D17-EE45-47EB-B686-D012B61FE6A3}"/>
              </a:ext>
            </a:extLst>
          </p:cNvPr>
          <p:cNvSpPr/>
          <p:nvPr/>
        </p:nvSpPr>
        <p:spPr bwMode="auto">
          <a:xfrm rot="752721">
            <a:off x="1257450" y="5833133"/>
            <a:ext cx="166530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6" name="Arrow: Right 65">
            <a:extLst>
              <a:ext uri="{FF2B5EF4-FFF2-40B4-BE49-F238E27FC236}">
                <a16:creationId xmlns:a16="http://schemas.microsoft.com/office/drawing/2014/main" id="{6975977A-6235-4EBD-8BDD-08230B319EBF}"/>
              </a:ext>
            </a:extLst>
          </p:cNvPr>
          <p:cNvSpPr/>
          <p:nvPr/>
        </p:nvSpPr>
        <p:spPr bwMode="auto">
          <a:xfrm>
            <a:off x="1283562" y="5084564"/>
            <a:ext cx="141164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4580A686-0634-48E2-A406-DD5E6FD0E2B1}"/>
              </a:ext>
            </a:extLst>
          </p:cNvPr>
          <p:cNvSpPr/>
          <p:nvPr/>
        </p:nvSpPr>
        <p:spPr bwMode="auto">
          <a:xfrm>
            <a:off x="2695334" y="1209185"/>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2608408" y="791138"/>
            <a:ext cx="1989267" cy="572464"/>
            <a:chOff x="2608408" y="855146"/>
            <a:chExt cx="1989267" cy="572464"/>
          </a:xfrm>
        </p:grpSpPr>
        <p:sp>
          <p:nvSpPr>
            <p:cNvPr id="68" name="TextBox 67">
              <a:extLst>
                <a:ext uri="{FF2B5EF4-FFF2-40B4-BE49-F238E27FC236}">
                  <a16:creationId xmlns:a16="http://schemas.microsoft.com/office/drawing/2014/main" id="{5B412AE4-A6AA-4981-9EA6-1F47045B5810}"/>
                </a:ext>
              </a:extLst>
            </p:cNvPr>
            <p:cNvSpPr txBox="1"/>
            <p:nvPr/>
          </p:nvSpPr>
          <p:spPr>
            <a:xfrm>
              <a:off x="2783652" y="891681"/>
              <a:ext cx="181402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grpSp>
      </p:grpSp>
      <p:grpSp>
        <p:nvGrpSpPr>
          <p:cNvPr id="80" name="Group 79">
            <a:extLst>
              <a:ext uri="{FF2B5EF4-FFF2-40B4-BE49-F238E27FC236}">
                <a16:creationId xmlns:a16="http://schemas.microsoft.com/office/drawing/2014/main" id="{22CD51C9-8458-427A-8034-03068E5200C5}"/>
              </a:ext>
            </a:extLst>
          </p:cNvPr>
          <p:cNvGrpSpPr/>
          <p:nvPr/>
        </p:nvGrpSpPr>
        <p:grpSpPr>
          <a:xfrm>
            <a:off x="4606406" y="800898"/>
            <a:ext cx="2600766" cy="572464"/>
            <a:chOff x="2608408" y="855146"/>
            <a:chExt cx="2600766" cy="572464"/>
          </a:xfrm>
        </p:grpSpPr>
        <p:sp>
          <p:nvSpPr>
            <p:cNvPr id="81" name="TextBox 80">
              <a:extLst>
                <a:ext uri="{FF2B5EF4-FFF2-40B4-BE49-F238E27FC236}">
                  <a16:creationId xmlns:a16="http://schemas.microsoft.com/office/drawing/2014/main" id="{9B61A876-470A-4B77-B947-6D9365AC206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vert Object to SQLDW</a:t>
              </a:r>
            </a:p>
          </p:txBody>
        </p:sp>
        <p:grpSp>
          <p:nvGrpSpPr>
            <p:cNvPr id="82" name="Group 81">
              <a:extLst>
                <a:ext uri="{FF2B5EF4-FFF2-40B4-BE49-F238E27FC236}">
                  <a16:creationId xmlns:a16="http://schemas.microsoft.com/office/drawing/2014/main" id="{8F1EAC83-18E1-4B82-874A-2856587688AC}"/>
                </a:ext>
              </a:extLst>
            </p:cNvPr>
            <p:cNvGrpSpPr/>
            <p:nvPr/>
          </p:nvGrpSpPr>
          <p:grpSpPr>
            <a:xfrm>
              <a:off x="2608408" y="855146"/>
              <a:ext cx="299426" cy="572464"/>
              <a:chOff x="5586984" y="1582465"/>
              <a:chExt cx="299426" cy="572464"/>
            </a:xfrm>
          </p:grpSpPr>
          <p:sp>
            <p:nvSpPr>
              <p:cNvPr id="83" name="Oval 82">
                <a:extLst>
                  <a:ext uri="{FF2B5EF4-FFF2-40B4-BE49-F238E27FC236}">
                    <a16:creationId xmlns:a16="http://schemas.microsoft.com/office/drawing/2014/main" id="{2040C91D-CDE3-4A4B-AFBE-0336471A8CCD}"/>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4" name="TextBox 83">
                <a:extLst>
                  <a:ext uri="{FF2B5EF4-FFF2-40B4-BE49-F238E27FC236}">
                    <a16:creationId xmlns:a16="http://schemas.microsoft.com/office/drawing/2014/main" id="{AD5D0AE9-83C8-4EE0-94CF-B0D4E25AFD31}"/>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sp>
        <p:nvSpPr>
          <p:cNvPr id="108" name="Arrow: Right 107">
            <a:extLst>
              <a:ext uri="{FF2B5EF4-FFF2-40B4-BE49-F238E27FC236}">
                <a16:creationId xmlns:a16="http://schemas.microsoft.com/office/drawing/2014/main" id="{FC5AAE84-204A-415A-8EF6-B1D40690B0F7}"/>
              </a:ext>
            </a:extLst>
          </p:cNvPr>
          <p:cNvSpPr/>
          <p:nvPr/>
        </p:nvSpPr>
        <p:spPr bwMode="auto">
          <a:xfrm>
            <a:off x="4355122" y="2732882"/>
            <a:ext cx="68469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2829350" y="4868060"/>
            <a:ext cx="2022108" cy="572464"/>
            <a:chOff x="2404667" y="856027"/>
            <a:chExt cx="3231925" cy="572464"/>
          </a:xfrm>
        </p:grpSpPr>
        <p:sp>
          <p:nvSpPr>
            <p:cNvPr id="111" name="TextBox 110">
              <a:extLst>
                <a:ext uri="{FF2B5EF4-FFF2-40B4-BE49-F238E27FC236}">
                  <a16:creationId xmlns:a16="http://schemas.microsoft.com/office/drawing/2014/main" id="{A7B86770-263C-42B1-A578-0E30EE801DF7}"/>
                </a:ext>
              </a:extLst>
            </p:cNvPr>
            <p:cNvSpPr txBox="1"/>
            <p:nvPr/>
          </p:nvSpPr>
          <p:spPr>
            <a:xfrm>
              <a:off x="2776409" y="887551"/>
              <a:ext cx="286018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Data Migration Objec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04667" y="856027"/>
              <a:ext cx="630692" cy="572464"/>
              <a:chOff x="5383243" y="1583346"/>
              <a:chExt cx="630692"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383243" y="1583346"/>
                <a:ext cx="63069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2686656" y="5555829"/>
            <a:ext cx="1553363" cy="1240200"/>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675785" y="6324440"/>
            <a:ext cx="2600766" cy="572464"/>
            <a:chOff x="2608408" y="855146"/>
            <a:chExt cx="2600766"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2663540" y="2338087"/>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2620937" y="3573720"/>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2878474" y="5547329"/>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4994849" y="1147972"/>
            <a:ext cx="1614403" cy="1358572"/>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055889" y="1210331"/>
            <a:ext cx="1561818" cy="4959146"/>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6665508" y="2734028"/>
            <a:ext cx="131342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7017591" y="5681212"/>
            <a:ext cx="2506621" cy="572464"/>
            <a:chOff x="2608408" y="855146"/>
            <a:chExt cx="2600766"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031718" y="2322373"/>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4981492" y="3574866"/>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197" name="Arrow: Right 196">
            <a:extLst>
              <a:ext uri="{FF2B5EF4-FFF2-40B4-BE49-F238E27FC236}">
                <a16:creationId xmlns:a16="http://schemas.microsoft.com/office/drawing/2014/main" id="{FC1A5860-DD62-43F3-A1B2-4C5412096082}"/>
              </a:ext>
            </a:extLst>
          </p:cNvPr>
          <p:cNvSpPr/>
          <p:nvPr/>
        </p:nvSpPr>
        <p:spPr bwMode="auto">
          <a:xfrm>
            <a:off x="3852933" y="6159948"/>
            <a:ext cx="3222204"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1" name="Arrow: Right 200">
            <a:extLst>
              <a:ext uri="{FF2B5EF4-FFF2-40B4-BE49-F238E27FC236}">
                <a16:creationId xmlns:a16="http://schemas.microsoft.com/office/drawing/2014/main" id="{4B4783F8-1FD1-439F-B7A8-FC872EDF18EA}"/>
              </a:ext>
            </a:extLst>
          </p:cNvPr>
          <p:cNvSpPr/>
          <p:nvPr/>
        </p:nvSpPr>
        <p:spPr bwMode="auto">
          <a:xfrm rot="1302061">
            <a:off x="8926374" y="3126141"/>
            <a:ext cx="152440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7752381" y="4817792"/>
            <a:ext cx="2960938"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5018760" y="4769252"/>
            <a:ext cx="1327389" cy="1497681"/>
            <a:chOff x="2692804" y="3693710"/>
            <a:chExt cx="1327389" cy="1497681"/>
          </a:xfrm>
        </p:grpSpPr>
        <p:sp>
          <p:nvSpPr>
            <p:cNvPr id="204" name="TextBox 203">
              <a:extLst>
                <a:ext uri="{FF2B5EF4-FFF2-40B4-BE49-F238E27FC236}">
                  <a16:creationId xmlns:a16="http://schemas.microsoft.com/office/drawing/2014/main" id="{2860A4D5-0768-4F34-B043-DDCC9EE60C6F}"/>
                </a:ext>
              </a:extLst>
            </p:cNvPr>
            <p:cNvSpPr txBox="1"/>
            <p:nvPr/>
          </p:nvSpPr>
          <p:spPr>
            <a:xfrm>
              <a:off x="2692804" y="4618927"/>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129817" y="3817367"/>
              <a:ext cx="523165" cy="9226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0997" y="3693710"/>
              <a:ext cx="86080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sp>
        <p:nvSpPr>
          <p:cNvPr id="209" name="Arrow: Right 208">
            <a:extLst>
              <a:ext uri="{FF2B5EF4-FFF2-40B4-BE49-F238E27FC236}">
                <a16:creationId xmlns:a16="http://schemas.microsoft.com/office/drawing/2014/main" id="{F04BE827-471C-43DE-919E-9CAC50CCCDD6}"/>
              </a:ext>
            </a:extLst>
          </p:cNvPr>
          <p:cNvSpPr/>
          <p:nvPr/>
        </p:nvSpPr>
        <p:spPr bwMode="auto">
          <a:xfrm rot="19120082">
            <a:off x="885989" y="3961974"/>
            <a:ext cx="197552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10" name="Group 209">
            <a:extLst>
              <a:ext uri="{FF2B5EF4-FFF2-40B4-BE49-F238E27FC236}">
                <a16:creationId xmlns:a16="http://schemas.microsoft.com/office/drawing/2014/main" id="{B84B13B2-A5C7-4E4C-8CC2-79682D804028}"/>
              </a:ext>
            </a:extLst>
          </p:cNvPr>
          <p:cNvGrpSpPr/>
          <p:nvPr/>
        </p:nvGrpSpPr>
        <p:grpSpPr>
          <a:xfrm>
            <a:off x="8070550" y="2453432"/>
            <a:ext cx="2506621" cy="572464"/>
            <a:chOff x="2608408" y="855146"/>
            <a:chExt cx="2600766" cy="572464"/>
          </a:xfrm>
        </p:grpSpPr>
        <p:sp>
          <p:nvSpPr>
            <p:cNvPr id="211" name="TextBox 210">
              <a:extLst>
                <a:ext uri="{FF2B5EF4-FFF2-40B4-BE49-F238E27FC236}">
                  <a16:creationId xmlns:a16="http://schemas.microsoft.com/office/drawing/2014/main" id="{CBB1790F-AD24-407A-917F-D21FA093547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Objects</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608408" y="855146"/>
              <a:ext cx="299426" cy="572464"/>
              <a:chOff x="5586984" y="1582465"/>
              <a:chExt cx="299426"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sp>
        <p:nvSpPr>
          <p:cNvPr id="215" name="Arrow: Right 214">
            <a:extLst>
              <a:ext uri="{FF2B5EF4-FFF2-40B4-BE49-F238E27FC236}">
                <a16:creationId xmlns:a16="http://schemas.microsoft.com/office/drawing/2014/main" id="{53B3F55A-774D-492D-AEEC-3870E4077ABC}"/>
              </a:ext>
            </a:extLst>
          </p:cNvPr>
          <p:cNvSpPr/>
          <p:nvPr/>
        </p:nvSpPr>
        <p:spPr bwMode="auto">
          <a:xfrm>
            <a:off x="4606406" y="5008282"/>
            <a:ext cx="79662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6" name="Arrow: Right 215">
            <a:extLst>
              <a:ext uri="{FF2B5EF4-FFF2-40B4-BE49-F238E27FC236}">
                <a16:creationId xmlns:a16="http://schemas.microsoft.com/office/drawing/2014/main" id="{FFC0AE47-AE29-41D8-B543-249F11896249}"/>
              </a:ext>
            </a:extLst>
          </p:cNvPr>
          <p:cNvSpPr/>
          <p:nvPr/>
        </p:nvSpPr>
        <p:spPr bwMode="auto">
          <a:xfrm>
            <a:off x="6056719" y="5594207"/>
            <a:ext cx="101841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863167" y="3702989"/>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2790939" y="3792080"/>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46023" y="3178836"/>
            <a:ext cx="974547" cy="974547"/>
          </a:xfrm>
          <a:prstGeom prst="rect">
            <a:avLst/>
          </a:prstGeom>
        </p:spPr>
      </p:pic>
    </p:spTree>
    <p:extLst>
      <p:ext uri="{BB962C8B-B14F-4D97-AF65-F5344CB8AC3E}">
        <p14:creationId xmlns:p14="http://schemas.microsoft.com/office/powerpoint/2010/main" val="745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BCP Out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6353626"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While APS did not receive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in support until AU4, this method will still work on earlier versions as the process is exporting data and not importing.  This process utilizes the SQL Server tool BCP to export data out of the </a:t>
            </a: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APS system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nd store the data in Flat Files.  These files are then copied to either WASB or Azure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DataLake</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here they can be consumed using Polybase to load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 in another ste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amiliar tool for SQL Server DB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ll data is passed through the control node and therefore is single threaded.  To utilize multiple export paths, multiple BCP commands will be neces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Must have local disk space to store files until they are moved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3" name="Picture 2">
            <a:extLst>
              <a:ext uri="{FF2B5EF4-FFF2-40B4-BE49-F238E27FC236}">
                <a16:creationId xmlns:a16="http://schemas.microsoft.com/office/drawing/2014/main" id="{A9028F50-809D-4BF2-BD57-B5512D009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6" name="Picture 5">
            <a:extLst>
              <a:ext uri="{FF2B5EF4-FFF2-40B4-BE49-F238E27FC236}">
                <a16:creationId xmlns:a16="http://schemas.microsoft.com/office/drawing/2014/main" id="{671FB9F2-AA2F-445A-AB0D-ABF45A7762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8" name="Picture 7">
            <a:extLst>
              <a:ext uri="{FF2B5EF4-FFF2-40B4-BE49-F238E27FC236}">
                <a16:creationId xmlns:a16="http://schemas.microsoft.com/office/drawing/2014/main" id="{9060A93D-E0D3-4628-835B-EB6527ADFA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11" name="Rectangle 10">
            <a:extLst>
              <a:ext uri="{FF2B5EF4-FFF2-40B4-BE49-F238E27FC236}">
                <a16:creationId xmlns:a16="http://schemas.microsoft.com/office/drawing/2014/main" id="{6021FEF3-EDEB-419E-83B4-804C581F5563}"/>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4" name="Arrow: Right 13">
            <a:extLst>
              <a:ext uri="{FF2B5EF4-FFF2-40B4-BE49-F238E27FC236}">
                <a16:creationId xmlns:a16="http://schemas.microsoft.com/office/drawing/2014/main" id="{40B113AF-8BE4-42CD-8BFD-DF3E86E955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17" name="Picture 16">
            <a:extLst>
              <a:ext uri="{FF2B5EF4-FFF2-40B4-BE49-F238E27FC236}">
                <a16:creationId xmlns:a16="http://schemas.microsoft.com/office/drawing/2014/main" id="{C0882AA6-A44D-4A8D-A8CA-F8697D96960E}"/>
              </a:ext>
            </a:extLst>
          </p:cNvPr>
          <p:cNvPicPr>
            <a:picLocks noChangeAspect="1"/>
          </p:cNvPicPr>
          <p:nvPr/>
        </p:nvPicPr>
        <p:blipFill>
          <a:blip r:embed="rId8"/>
          <a:stretch>
            <a:fillRect/>
          </a:stretch>
        </p:blipFill>
        <p:spPr>
          <a:xfrm>
            <a:off x="8616957" y="1503347"/>
            <a:ext cx="475029" cy="558281"/>
          </a:xfrm>
          <a:prstGeom prst="rect">
            <a:avLst/>
          </a:prstGeom>
        </p:spPr>
      </p:pic>
      <p:sp>
        <p:nvSpPr>
          <p:cNvPr id="15" name="Arrow: Right 14">
            <a:extLst>
              <a:ext uri="{FF2B5EF4-FFF2-40B4-BE49-F238E27FC236}">
                <a16:creationId xmlns:a16="http://schemas.microsoft.com/office/drawing/2014/main" id="{0E28849D-5648-4730-BF19-083BA4001C2E}"/>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F5F6BEFB-46B4-405F-92C5-96587810522B}"/>
              </a:ext>
            </a:extLst>
          </p:cNvPr>
          <p:cNvGrpSpPr/>
          <p:nvPr/>
        </p:nvGrpSpPr>
        <p:grpSpPr>
          <a:xfrm>
            <a:off x="9460226" y="1583994"/>
            <a:ext cx="1055426" cy="778710"/>
            <a:chOff x="9828715" y="1583994"/>
            <a:chExt cx="1055426" cy="778710"/>
          </a:xfrm>
        </p:grpSpPr>
        <p:sp>
          <p:nvSpPr>
            <p:cNvPr id="10" name="Flowchart: Magnetic Disk 9">
              <a:extLst>
                <a:ext uri="{FF2B5EF4-FFF2-40B4-BE49-F238E27FC236}">
                  <a16:creationId xmlns:a16="http://schemas.microsoft.com/office/drawing/2014/main" id="{158DF757-E2AB-4A3B-A762-B77F245FD685}"/>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1B5F464-7920-417C-8FCF-FE6E9186576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23" name="Group 22">
            <a:extLst>
              <a:ext uri="{FF2B5EF4-FFF2-40B4-BE49-F238E27FC236}">
                <a16:creationId xmlns:a16="http://schemas.microsoft.com/office/drawing/2014/main" id="{056D1BCA-ED52-4B2A-ACF9-2D6907786B3F}"/>
              </a:ext>
            </a:extLst>
          </p:cNvPr>
          <p:cNvGrpSpPr/>
          <p:nvPr/>
        </p:nvGrpSpPr>
        <p:grpSpPr>
          <a:xfrm>
            <a:off x="11006381" y="3483897"/>
            <a:ext cx="1055426" cy="778710"/>
            <a:chOff x="9828715" y="1583994"/>
            <a:chExt cx="1055426" cy="778710"/>
          </a:xfrm>
        </p:grpSpPr>
        <p:sp>
          <p:nvSpPr>
            <p:cNvPr id="24" name="Flowchart: Magnetic Disk 23">
              <a:extLst>
                <a:ext uri="{FF2B5EF4-FFF2-40B4-BE49-F238E27FC236}">
                  <a16:creationId xmlns:a16="http://schemas.microsoft.com/office/drawing/2014/main" id="{20974EB7-5DF1-4884-99EC-0FC372566148}"/>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0DBA87AF-2271-4E5E-9B71-1B4958DE8E23}"/>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6" name="Arrow: Right 25">
            <a:extLst>
              <a:ext uri="{FF2B5EF4-FFF2-40B4-BE49-F238E27FC236}">
                <a16:creationId xmlns:a16="http://schemas.microsoft.com/office/drawing/2014/main" id="{A5C720AD-060B-4441-877C-57CEBD3C83F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7" name="Arrow: Right 26">
            <a:extLst>
              <a:ext uri="{FF2B5EF4-FFF2-40B4-BE49-F238E27FC236}">
                <a16:creationId xmlns:a16="http://schemas.microsoft.com/office/drawing/2014/main" id="{C86A710E-ADB0-4C40-AC81-8C8F9871630A}"/>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Right 27">
            <a:extLst>
              <a:ext uri="{FF2B5EF4-FFF2-40B4-BE49-F238E27FC236}">
                <a16:creationId xmlns:a16="http://schemas.microsoft.com/office/drawing/2014/main" id="{60351B95-62F0-4A12-AB72-168C5E9B72CC}"/>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Arrow: Right 28">
            <a:extLst>
              <a:ext uri="{FF2B5EF4-FFF2-40B4-BE49-F238E27FC236}">
                <a16:creationId xmlns:a16="http://schemas.microsoft.com/office/drawing/2014/main" id="{C6497020-B130-42FD-8F6B-CBEC4E7A01CE}"/>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9A39F9-BC25-4023-8EF9-55793300B426}"/>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
        <p:nvSpPr>
          <p:cNvPr id="32" name="Arrow: Right 31">
            <a:extLst>
              <a:ext uri="{FF2B5EF4-FFF2-40B4-BE49-F238E27FC236}">
                <a16:creationId xmlns:a16="http://schemas.microsoft.com/office/drawing/2014/main" id="{2B64877E-79C8-49C2-B357-D4A7523744EB}"/>
              </a:ext>
            </a:extLst>
          </p:cNvPr>
          <p:cNvSpPr/>
          <p:nvPr/>
        </p:nvSpPr>
        <p:spPr>
          <a:xfrm rot="2791677">
            <a:off x="10091162" y="4173204"/>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Po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Shell</a:t>
            </a:r>
          </a:p>
        </p:txBody>
      </p:sp>
      <p:sp>
        <p:nvSpPr>
          <p:cNvPr id="22" name="Arrow: Left 21">
            <a:extLst>
              <a:ext uri="{FF2B5EF4-FFF2-40B4-BE49-F238E27FC236}">
                <a16:creationId xmlns:a16="http://schemas.microsoft.com/office/drawing/2014/main" id="{319E6EB5-6844-4E77-83BF-AE08CFBE952B}"/>
              </a:ext>
            </a:extLst>
          </p:cNvPr>
          <p:cNvSpPr/>
          <p:nvPr/>
        </p:nvSpPr>
        <p:spPr>
          <a:xfrm rot="17999532">
            <a:off x="9436791" y="4189888"/>
            <a:ext cx="54221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Z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Left 33">
            <a:extLst>
              <a:ext uri="{FF2B5EF4-FFF2-40B4-BE49-F238E27FC236}">
                <a16:creationId xmlns:a16="http://schemas.microsoft.com/office/drawing/2014/main" id="{7E881B2E-03C3-41BC-B362-76463FC8238F}"/>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82A31626-9460-44E3-8E10-80B617F5A0A4}"/>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66800406-35DF-41C4-97FD-B138E95F68F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Tree>
    <p:extLst>
      <p:ext uri="{BB962C8B-B14F-4D97-AF65-F5344CB8AC3E}">
        <p14:creationId xmlns:p14="http://schemas.microsoft.com/office/powerpoint/2010/main" val="189187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Out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ACB3664D-A31D-458E-B563-F2CEA8D73476}"/>
              </a:ext>
            </a:extLst>
          </p:cNvPr>
          <p:cNvSpPr txBox="1"/>
          <p:nvPr/>
        </p:nvSpPr>
        <p:spPr>
          <a:xfrm>
            <a:off x="268405" y="947747"/>
            <a:ext cx="7988491"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is one of the fasted methods for importing and exporting data from APS to SQLDW. However, the true speed is dependent on the connection speed between APS and Azure.  </a:t>
            </a:r>
            <a:r>
              <a:rPr lang="en-US" sz="1600">
                <a:solidFill>
                  <a:prstClr val="black"/>
                </a:solidFill>
                <a:latin typeface="Segoe UI" panose="020B0502040204020203" pitchFamily="34" charset="0"/>
                <a:cs typeface="Segoe UI" panose="020B0502040204020203" pitchFamily="34" charset="0"/>
              </a:rPr>
              <a:t>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he overall speed needs to be tested.  Before using this method, clearance should be obtained from the organizations IT/Security </a:t>
            </a:r>
            <a:r>
              <a:rPr lang="en-US" sz="1600">
                <a:solidFill>
                  <a:prstClr val="black"/>
                </a:solidFill>
                <a:latin typeface="Segoe UI" panose="020B0502040204020203" pitchFamily="34" charset="0"/>
                <a:cs typeface="Segoe UI" panose="020B0502040204020203" pitchFamily="34" charset="0"/>
              </a:rPr>
              <a:t>group to insure the expor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ill not consume the bandwidth of the Azure connection.  Polybase  does have the ability to compress files as they are created.  APS can only create the Polybase file on WASB.  IF they are to be stored/consumed from ADLS, an additional step will be needed to copy them to ADLS from WAS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  Will require additional External Tab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ach Distribution runs in parallel making this the fastest method to export/import file into SQLDW.  Export speed is dependent on the network connection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 ag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PS can only utilize WASB current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10" name="Picture 9">
            <a:extLst>
              <a:ext uri="{FF2B5EF4-FFF2-40B4-BE49-F238E27FC236}">
                <a16:creationId xmlns:a16="http://schemas.microsoft.com/office/drawing/2014/main" id="{55BC2A4E-A392-436B-AF77-7E590A8651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2480" y="5494460"/>
            <a:ext cx="780290" cy="780290"/>
          </a:xfrm>
          <a:prstGeom prst="rect">
            <a:avLst/>
          </a:prstGeom>
        </p:spPr>
      </p:pic>
      <p:pic>
        <p:nvPicPr>
          <p:cNvPr id="11" name="Picture 10">
            <a:extLst>
              <a:ext uri="{FF2B5EF4-FFF2-40B4-BE49-F238E27FC236}">
                <a16:creationId xmlns:a16="http://schemas.microsoft.com/office/drawing/2014/main" id="{26FE7456-03BD-4894-8DCD-C2C66C51E2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00885" y="4119044"/>
            <a:ext cx="780290" cy="780290"/>
          </a:xfrm>
          <a:prstGeom prst="rect">
            <a:avLst/>
          </a:prstGeom>
        </p:spPr>
      </p:pic>
      <p:pic>
        <p:nvPicPr>
          <p:cNvPr id="12" name="Picture 11">
            <a:extLst>
              <a:ext uri="{FF2B5EF4-FFF2-40B4-BE49-F238E27FC236}">
                <a16:creationId xmlns:a16="http://schemas.microsoft.com/office/drawing/2014/main" id="{72A40454-15DD-4EC6-8C8F-8C66A2B4F4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54857" y="4192639"/>
            <a:ext cx="780290" cy="780290"/>
          </a:xfrm>
          <a:prstGeom prst="rect">
            <a:avLst/>
          </a:prstGeom>
        </p:spPr>
      </p:pic>
      <p:sp>
        <p:nvSpPr>
          <p:cNvPr id="14" name="Arrow: Right 13">
            <a:extLst>
              <a:ext uri="{FF2B5EF4-FFF2-40B4-BE49-F238E27FC236}">
                <a16:creationId xmlns:a16="http://schemas.microsoft.com/office/drawing/2014/main" id="{5137A25B-785C-497A-82E0-2844E6D22EDA}"/>
              </a:ext>
            </a:extLst>
          </p:cNvPr>
          <p:cNvSpPr/>
          <p:nvPr/>
        </p:nvSpPr>
        <p:spPr>
          <a:xfrm rot="5400000">
            <a:off x="9056710" y="2418542"/>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08AB029B-8FB2-4C19-B3EF-17C92D43BA35}"/>
              </a:ext>
            </a:extLst>
          </p:cNvPr>
          <p:cNvPicPr>
            <a:picLocks noChangeAspect="1"/>
          </p:cNvPicPr>
          <p:nvPr/>
        </p:nvPicPr>
        <p:blipFill>
          <a:blip r:embed="rId8"/>
          <a:stretch>
            <a:fillRect/>
          </a:stretch>
        </p:blipFill>
        <p:spPr>
          <a:xfrm>
            <a:off x="9230431" y="3064606"/>
            <a:ext cx="475029" cy="558281"/>
          </a:xfrm>
          <a:prstGeom prst="rect">
            <a:avLst/>
          </a:prstGeom>
        </p:spPr>
      </p:pic>
      <p:sp>
        <p:nvSpPr>
          <p:cNvPr id="30" name="Arrow: Left 29">
            <a:extLst>
              <a:ext uri="{FF2B5EF4-FFF2-40B4-BE49-F238E27FC236}">
                <a16:creationId xmlns:a16="http://schemas.microsoft.com/office/drawing/2014/main" id="{0A71EF5F-60B9-4A31-B534-4B1891D2C047}"/>
              </a:ext>
            </a:extLst>
          </p:cNvPr>
          <p:cNvSpPr/>
          <p:nvPr/>
        </p:nvSpPr>
        <p:spPr>
          <a:xfrm rot="18609453">
            <a:off x="10454248" y="5015625"/>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rrow: Right 30">
            <a:extLst>
              <a:ext uri="{FF2B5EF4-FFF2-40B4-BE49-F238E27FC236}">
                <a16:creationId xmlns:a16="http://schemas.microsoft.com/office/drawing/2014/main" id="{B94146F7-8265-4D4D-962F-7ED175544A58}"/>
              </a:ext>
            </a:extLst>
          </p:cNvPr>
          <p:cNvSpPr/>
          <p:nvPr/>
        </p:nvSpPr>
        <p:spPr>
          <a:xfrm rot="2791677">
            <a:off x="9486103" y="5076058"/>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DFA2A7A0-E4A0-43F2-B363-925CA5F46281}"/>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049176" y="1093323"/>
            <a:ext cx="770243" cy="1003009"/>
          </a:xfrm>
          <a:prstGeom prst="rect">
            <a:avLst/>
          </a:prstGeom>
        </p:spPr>
      </p:pic>
      <p:sp>
        <p:nvSpPr>
          <p:cNvPr id="33" name="Arrow: Right 32">
            <a:extLst>
              <a:ext uri="{FF2B5EF4-FFF2-40B4-BE49-F238E27FC236}">
                <a16:creationId xmlns:a16="http://schemas.microsoft.com/office/drawing/2014/main" id="{EE3C3852-DC40-4362-8FCA-9791AC767DEA}"/>
              </a:ext>
            </a:extLst>
          </p:cNvPr>
          <p:cNvSpPr/>
          <p:nvPr/>
        </p:nvSpPr>
        <p:spPr>
          <a:xfrm rot="5400000">
            <a:off x="9184439" y="3762339"/>
            <a:ext cx="490433"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Right 33">
            <a:extLst>
              <a:ext uri="{FF2B5EF4-FFF2-40B4-BE49-F238E27FC236}">
                <a16:creationId xmlns:a16="http://schemas.microsoft.com/office/drawing/2014/main" id="{A31EBE50-F758-4F12-821F-1E2ECCE594D1}"/>
              </a:ext>
            </a:extLst>
          </p:cNvPr>
          <p:cNvSpPr/>
          <p:nvPr/>
        </p:nvSpPr>
        <p:spPr>
          <a:xfrm>
            <a:off x="9922866" y="4380034"/>
            <a:ext cx="78434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wershell</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63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26297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Polybase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to Azure – Polybase into SQLDW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25580" y="5547163"/>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82013" y="4191340"/>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87957" y="4245342"/>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13301" y="200432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387348" y="506832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19203" y="5128761"/>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773802" y="881081"/>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059897" y="363412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35966" y="2556726"/>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274555" y="306152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381738" y="366013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863130" y="373030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spTree>
    <p:extLst>
      <p:ext uri="{BB962C8B-B14F-4D97-AF65-F5344CB8AC3E}">
        <p14:creationId xmlns:p14="http://schemas.microsoft.com/office/powerpoint/2010/main" val="357917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8"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15163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Approach</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3222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480131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8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need for additional space for flat Fi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issues with delimi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is not compressed before sending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5844" y="488592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50434" y="2765546"/>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10935" y="1642307"/>
            <a:ext cx="770243" cy="1003009"/>
          </a:xfrm>
          <a:prstGeom prst="rect">
            <a:avLst/>
          </a:prstGeom>
        </p:spPr>
      </p:pic>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099" y="3317952"/>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311688" y="3822748"/>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19" name="Arrow: Right 18">
            <a:extLst>
              <a:ext uri="{FF2B5EF4-FFF2-40B4-BE49-F238E27FC236}">
                <a16:creationId xmlns:a16="http://schemas.microsoft.com/office/drawing/2014/main" id="{C9242E32-12CE-437F-91F2-102906EE1182}"/>
              </a:ext>
            </a:extLst>
          </p:cNvPr>
          <p:cNvSpPr/>
          <p:nvPr/>
        </p:nvSpPr>
        <p:spPr>
          <a:xfrm rot="5400000">
            <a:off x="9850433" y="4297012"/>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67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8188258"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a second task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Extract to Blob/ADLS Approach</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Segoe UI" panose="020B0502040204020203" pitchFamily="34" charset="0"/>
                <a:cs typeface="Segoe UI" panose="020B0502040204020203" pitchFamily="34" charset="0"/>
              </a:rPr>
              <a:t>Speed is limited to the speed of the control node.  Data is copied to Blob or ADLS first.  Does not use Polybase on the APS to extract data.</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1996" y="6020608"/>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28429" y="4664785"/>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34373" y="471878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87890" y="248878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433764" y="5541773"/>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65619" y="5602206"/>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8404615" y="1267753"/>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106313" y="410757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428154" y="413358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909546" y="4203747"/>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pic>
        <p:nvPicPr>
          <p:cNvPr id="3" name="Picture 2">
            <a:extLst>
              <a:ext uri="{FF2B5EF4-FFF2-40B4-BE49-F238E27FC236}">
                <a16:creationId xmlns:a16="http://schemas.microsoft.com/office/drawing/2014/main" id="{D6748576-1F2A-487E-939B-16B84C75420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42560" y="3031123"/>
            <a:ext cx="780290" cy="780290"/>
          </a:xfrm>
          <a:prstGeom prst="rect">
            <a:avLst/>
          </a:prstGeom>
        </p:spPr>
      </p:pic>
      <p:pic>
        <p:nvPicPr>
          <p:cNvPr id="19" name="Picture 18">
            <a:extLst>
              <a:ext uri="{FF2B5EF4-FFF2-40B4-BE49-F238E27FC236}">
                <a16:creationId xmlns:a16="http://schemas.microsoft.com/office/drawing/2014/main" id="{042ACF51-6D43-42A1-A670-FB2CACFB3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88903" y="1455281"/>
            <a:ext cx="787685" cy="787685"/>
          </a:xfrm>
          <a:prstGeom prst="rect">
            <a:avLst/>
          </a:prstGeom>
        </p:spPr>
      </p:pic>
      <p:sp>
        <p:nvSpPr>
          <p:cNvPr id="20" name="Arrow: Right 19">
            <a:extLst>
              <a:ext uri="{FF2B5EF4-FFF2-40B4-BE49-F238E27FC236}">
                <a16:creationId xmlns:a16="http://schemas.microsoft.com/office/drawing/2014/main" id="{06A9B56D-9941-440D-8C7C-321F6D47FB80}"/>
              </a:ext>
            </a:extLst>
          </p:cNvPr>
          <p:cNvSpPr/>
          <p:nvPr/>
        </p:nvSpPr>
        <p:spPr>
          <a:xfrm>
            <a:off x="9231876" y="165405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0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35531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Ta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prstClr val="black"/>
                </a:solidFill>
                <a:latin typeface="Segoe UI" panose="020B0502040204020203" pitchFamily="34" charset="0"/>
                <a:cs typeface="Segoe UI" panose="020B0502040204020203" pitchFamily="34" charset="0"/>
              </a:rPr>
              <a:t>Speed is dependent on the how fast the control node can provide data.  This does not use </a:t>
            </a:r>
            <a:r>
              <a:rPr lang="en-US" err="1">
                <a:solidFill>
                  <a:prstClr val="black"/>
                </a:solidFill>
                <a:latin typeface="Segoe UI" panose="020B0502040204020203" pitchFamily="34" charset="0"/>
                <a:cs typeface="Segoe UI" panose="020B0502040204020203" pitchFamily="34" charset="0"/>
              </a:rPr>
              <a:t>polybase</a:t>
            </a:r>
            <a:r>
              <a:rPr lang="en-US">
                <a:solidFill>
                  <a:prstClr val="black"/>
                </a:solidFill>
                <a:latin typeface="Segoe UI" panose="020B0502040204020203" pitchFamily="34" charset="0"/>
                <a:cs typeface="Segoe UI" panose="020B0502040204020203" pitchFamily="34" charset="0"/>
              </a:rPr>
              <a:t> to extract data on APS.</a:t>
            </a: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7960" y="5851384"/>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52546" y="2209715"/>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67430" y="990761"/>
            <a:ext cx="770243" cy="1003009"/>
          </a:xfrm>
          <a:prstGeom prst="rect">
            <a:avLst/>
          </a:prstGeom>
        </p:spPr>
      </p:pic>
      <p:sp>
        <p:nvSpPr>
          <p:cNvPr id="19" name="Arrow: Right 18">
            <a:extLst>
              <a:ext uri="{FF2B5EF4-FFF2-40B4-BE49-F238E27FC236}">
                <a16:creationId xmlns:a16="http://schemas.microsoft.com/office/drawing/2014/main" id="{C9242E32-12CE-437F-91F2-102906EE1182}"/>
              </a:ext>
            </a:extLst>
          </p:cNvPr>
          <p:cNvSpPr/>
          <p:nvPr/>
        </p:nvSpPr>
        <p:spPr>
          <a:xfrm rot="5400000">
            <a:off x="9952549" y="5262469"/>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816921-1770-4721-AA19-6C9F25828B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13051" y="4283409"/>
            <a:ext cx="780290" cy="780290"/>
          </a:xfrm>
          <a:prstGeom prst="rect">
            <a:avLst/>
          </a:prstGeom>
        </p:spPr>
      </p:pic>
      <p:sp>
        <p:nvSpPr>
          <p:cNvPr id="14" name="Arrow: Right 13">
            <a:extLst>
              <a:ext uri="{FF2B5EF4-FFF2-40B4-BE49-F238E27FC236}">
                <a16:creationId xmlns:a16="http://schemas.microsoft.com/office/drawing/2014/main" id="{43FEDA7F-8952-499C-8F8B-61E61F07DFFC}"/>
              </a:ext>
            </a:extLst>
          </p:cNvPr>
          <p:cNvSpPr/>
          <p:nvPr/>
        </p:nvSpPr>
        <p:spPr>
          <a:xfrm rot="5400000">
            <a:off x="9952548" y="374141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B50071D3-1EF2-488C-B4D2-469929876F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49988" y="2769670"/>
            <a:ext cx="787685" cy="787685"/>
          </a:xfrm>
          <a:prstGeom prst="rect">
            <a:avLst/>
          </a:prstGeom>
        </p:spPr>
      </p:pic>
    </p:spTree>
    <p:extLst>
      <p:ext uri="{BB962C8B-B14F-4D97-AF65-F5344CB8AC3E}">
        <p14:creationId xmlns:p14="http://schemas.microsoft.com/office/powerpoint/2010/main" val="3999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Import/Export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68406" y="947747"/>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zure Export/Import Service </a:t>
            </a:r>
            <a:endParaRPr kumimoji="0" lang="en-US" sz="1600" b="0" i="0" u="none" strike="noStrike" kern="1200" cap="none" spc="0" normalizeH="0" baseline="0" noProof="0">
              <a:ln>
                <a:noFill/>
              </a:ln>
              <a:solidFill>
                <a:srgbClr val="0000FF"/>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 Azure export/import service can be used to transfer large datasets from on premises to Azure through the use of a SATA Hard Drive.  The files need to be copied to an external hard drive that has been registered/configured in the Azure Portal to be used with this service.  The drive is then shipped to Azure where the data is copied to the specified WASB account during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Bitlocker</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encrypted dr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time to get data to Azure.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only load to WAS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configuration\install\removal\shipping of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Sata</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Driv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5FA0A547-ED87-4C79-9D5E-081DED4DE2AF}"/>
              </a:ext>
            </a:extLst>
          </p:cNvPr>
          <p:cNvGrpSpPr/>
          <p:nvPr/>
        </p:nvGrpSpPr>
        <p:grpSpPr>
          <a:xfrm>
            <a:off x="9460226" y="1583994"/>
            <a:ext cx="1055426" cy="778710"/>
            <a:chOff x="9828715" y="1583994"/>
            <a:chExt cx="1055426" cy="778710"/>
          </a:xfrm>
        </p:grpSpPr>
        <p:sp>
          <p:nvSpPr>
            <p:cNvPr id="30" name="Flowchart: Magnetic Disk 29">
              <a:extLst>
                <a:ext uri="{FF2B5EF4-FFF2-40B4-BE49-F238E27FC236}">
                  <a16:creationId xmlns:a16="http://schemas.microsoft.com/office/drawing/2014/main" id="{8B3DA2D8-9790-477D-B533-DCF69B74482E}"/>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57A588A6-07BC-44E5-957B-1FF989EB8305}"/>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32" name="Group 31">
            <a:extLst>
              <a:ext uri="{FF2B5EF4-FFF2-40B4-BE49-F238E27FC236}">
                <a16:creationId xmlns:a16="http://schemas.microsoft.com/office/drawing/2014/main" id="{1D16E1D2-17B4-49BD-9AB2-B4A6D0ECE190}"/>
              </a:ext>
            </a:extLst>
          </p:cNvPr>
          <p:cNvGrpSpPr/>
          <p:nvPr/>
        </p:nvGrpSpPr>
        <p:grpSpPr>
          <a:xfrm>
            <a:off x="11006381" y="3483897"/>
            <a:ext cx="1055426" cy="778710"/>
            <a:chOff x="9828715" y="1583994"/>
            <a:chExt cx="1055426" cy="778710"/>
          </a:xfrm>
        </p:grpSpPr>
        <p:sp>
          <p:nvSpPr>
            <p:cNvPr id="33" name="Flowchart: Magnetic Disk 32">
              <a:extLst>
                <a:ext uri="{FF2B5EF4-FFF2-40B4-BE49-F238E27FC236}">
                  <a16:creationId xmlns:a16="http://schemas.microsoft.com/office/drawing/2014/main" id="{D72922F7-9DD5-46E6-9DAD-59611E16FC12}"/>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C3DD43EC-D223-4DD8-BFA5-C6C9FEC2A4F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37" name="Arrow: Right 36">
            <a:extLst>
              <a:ext uri="{FF2B5EF4-FFF2-40B4-BE49-F238E27FC236}">
                <a16:creationId xmlns:a16="http://schemas.microsoft.com/office/drawing/2014/main" id="{6453A227-812E-4B2C-85AE-496323EF1CC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Script/</a:t>
            </a: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14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Data Box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zure Data Box (Disk) Service </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Data Box service can be used to transfer very large datasets (Up to 100TB) from on premises to Azure. If the data size is less than 40TB, Data Box Disk service may be used. You can order the Data Box or Disk through Azure portal which will be shipped to customer location by Microsoft. Customer can then connect the Data Box into their network (or USB/SATA connection in case of Data Disk) and copy the files to it. The Box or Disks then shipped to Azure data center where the data is imported into customer specified WAS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ery large datasets (40 to 100TB) can be moved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icrosoft provides the necessary storage hardw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ES encryption of the data for strong secu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time needed to get data to Azure due to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latively less repea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configuration\install\removal\shipping of storag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6453A227-812E-4B2C-85AE-496323EF1CC6}"/>
              </a:ext>
            </a:extLst>
          </p:cNvPr>
          <p:cNvSpPr/>
          <p:nvPr/>
        </p:nvSpPr>
        <p:spPr>
          <a:xfrm rot="2081742">
            <a:off x="10538251" y="188196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Polybase</a:t>
            </a: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Script/ADLCopy</a:t>
            </a: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218" name="Picture 2" descr="https://azurecomcdn.azureedge.net/cvt-5eeb6e95e1e3b28953cc2051ebc43a36115e226d3a59b6356cfa47423986508a/images/page/services/storage/databox/databox.jpg">
            <a:extLst>
              <a:ext uri="{FF2B5EF4-FFF2-40B4-BE49-F238E27FC236}">
                <a16:creationId xmlns:a16="http://schemas.microsoft.com/office/drawing/2014/main" id="{42399541-A6A2-43A9-8933-3DB351605B5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08398" y="1361493"/>
            <a:ext cx="964959" cy="1077019"/>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azurecomcdn.azureedge.net/cvt-5eeb6e95e1e3b28953cc2051ebc43a36115e226d3a59b6356cfa47423986508a/images/page/services/storage/databox/databox.jpg">
            <a:extLst>
              <a:ext uri="{FF2B5EF4-FFF2-40B4-BE49-F238E27FC236}">
                <a16:creationId xmlns:a16="http://schemas.microsoft.com/office/drawing/2014/main" id="{F1BB1285-D592-4D5A-8796-55D1C6E2608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12842" y="3462762"/>
            <a:ext cx="819770" cy="914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85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SIS Migration Approach – Lift and Shift with ADF V2</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IS Migration</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f customer is using SSIS packages for ongoing ingestion of data, same packages can be migrated to Azure for ingesting data directly into SQL D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re are th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vision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SSIS Catalog (SSISDB)</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Azure-SSIS Integration Run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latest version of SSDT (15.3 or lat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connection strings with SQL DW as targ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ploy Packages to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 to SSISDB i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project deployment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Schedule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Execute SSIS Package activity in ADF V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chedule us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F Pipelin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M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DB Elastic Job</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Server Agent on-premises</a:t>
            </a:r>
          </a:p>
        </p:txBody>
      </p:sp>
      <p:pic>
        <p:nvPicPr>
          <p:cNvPr id="10242" name="Picture 2" descr="Specify the type of integration runtime">
            <a:extLst>
              <a:ext uri="{FF2B5EF4-FFF2-40B4-BE49-F238E27FC236}">
                <a16:creationId xmlns:a16="http://schemas.microsoft.com/office/drawing/2014/main" id="{566B914C-D8F2-44CA-8D16-332ED06E43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48921" y="1151123"/>
            <a:ext cx="5375740" cy="5331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39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Oracl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6" name="TextBox 5">
            <a:extLst>
              <a:ext uri="{FF2B5EF4-FFF2-40B4-BE49-F238E27FC236}">
                <a16:creationId xmlns:a16="http://schemas.microsoft.com/office/drawing/2014/main" id="{AA8C26A3-138D-4176-840D-3AF338A96421}"/>
              </a:ext>
            </a:extLst>
          </p:cNvPr>
          <p:cNvSpPr txBox="1"/>
          <p:nvPr/>
        </p:nvSpPr>
        <p:spPr>
          <a:xfrm>
            <a:off x="268406" y="947747"/>
            <a:ext cx="6644470"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racle 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2) methods we would suggest for Oracle data migration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port data to Flat Files – Polybase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600">
                <a:solidFill>
                  <a:prstClr val="black"/>
                </a:solidFill>
                <a:latin typeface="Segoe UI" panose="020B0502040204020203" pitchFamily="34" charset="0"/>
                <a:cs typeface="Segoe UI" panose="020B0502040204020203" pitchFamily="34" charset="0"/>
              </a:rPr>
              <a:t>ADF – Requires gateway</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ur suggested approach would be to utilize op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can be placed on ADSL through a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Powershell</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cri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elta changes between initial extract and final load can be mana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racking of deltas between initial load and final extract. </a:t>
            </a:r>
          </a:p>
        </p:txBody>
      </p:sp>
      <p:pic>
        <p:nvPicPr>
          <p:cNvPr id="7" name="Picture 6">
            <a:extLst>
              <a:ext uri="{FF2B5EF4-FFF2-40B4-BE49-F238E27FC236}">
                <a16:creationId xmlns:a16="http://schemas.microsoft.com/office/drawing/2014/main" id="{721C9453-7A9F-4F19-88EF-C2489ADBC2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35362" y="5970861"/>
            <a:ext cx="780290" cy="780290"/>
          </a:xfrm>
          <a:prstGeom prst="rect">
            <a:avLst/>
          </a:prstGeom>
        </p:spPr>
      </p:pic>
      <p:pic>
        <p:nvPicPr>
          <p:cNvPr id="8" name="Picture 7">
            <a:extLst>
              <a:ext uri="{FF2B5EF4-FFF2-40B4-BE49-F238E27FC236}">
                <a16:creationId xmlns:a16="http://schemas.microsoft.com/office/drawing/2014/main" id="{718C8EFD-F982-48E6-8C04-A43AA9E554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84961" y="4538276"/>
            <a:ext cx="780290" cy="780290"/>
          </a:xfrm>
          <a:prstGeom prst="rect">
            <a:avLst/>
          </a:prstGeom>
        </p:spPr>
      </p:pic>
      <p:sp>
        <p:nvSpPr>
          <p:cNvPr id="10" name="Rectangle 9">
            <a:extLst>
              <a:ext uri="{FF2B5EF4-FFF2-40B4-BE49-F238E27FC236}">
                <a16:creationId xmlns:a16="http://schemas.microsoft.com/office/drawing/2014/main" id="{B9DECDC0-BAA7-471A-AD33-A59C1FC33CAF}"/>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1" name="Arrow: Right 10">
            <a:extLst>
              <a:ext uri="{FF2B5EF4-FFF2-40B4-BE49-F238E27FC236}">
                <a16:creationId xmlns:a16="http://schemas.microsoft.com/office/drawing/2014/main" id="{9EF40A84-4796-4526-BEA5-6549E55889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Export</a:t>
            </a:r>
          </a:p>
        </p:txBody>
      </p:sp>
      <p:pic>
        <p:nvPicPr>
          <p:cNvPr id="12" name="Picture 11">
            <a:extLst>
              <a:ext uri="{FF2B5EF4-FFF2-40B4-BE49-F238E27FC236}">
                <a16:creationId xmlns:a16="http://schemas.microsoft.com/office/drawing/2014/main" id="{7247D04F-5AF9-43F7-B799-9BBACF17669B}"/>
              </a:ext>
            </a:extLst>
          </p:cNvPr>
          <p:cNvPicPr>
            <a:picLocks noChangeAspect="1"/>
          </p:cNvPicPr>
          <p:nvPr/>
        </p:nvPicPr>
        <p:blipFill>
          <a:blip r:embed="rId7"/>
          <a:stretch>
            <a:fillRect/>
          </a:stretch>
        </p:blipFill>
        <p:spPr>
          <a:xfrm>
            <a:off x="8616957" y="1503347"/>
            <a:ext cx="475029" cy="558281"/>
          </a:xfrm>
          <a:prstGeom prst="rect">
            <a:avLst/>
          </a:prstGeom>
        </p:spPr>
      </p:pic>
      <p:sp>
        <p:nvSpPr>
          <p:cNvPr id="13" name="Arrow: Right 12">
            <a:extLst>
              <a:ext uri="{FF2B5EF4-FFF2-40B4-BE49-F238E27FC236}">
                <a16:creationId xmlns:a16="http://schemas.microsoft.com/office/drawing/2014/main" id="{C7001396-95A0-4CBA-925F-63B0AA2FDB57}"/>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6F3BAF5-7A7A-436C-9563-0ECA6C76AA3C}"/>
              </a:ext>
            </a:extLst>
          </p:cNvPr>
          <p:cNvGrpSpPr/>
          <p:nvPr/>
        </p:nvGrpSpPr>
        <p:grpSpPr>
          <a:xfrm>
            <a:off x="9460226" y="1583994"/>
            <a:ext cx="1055426" cy="778710"/>
            <a:chOff x="9828715" y="1583994"/>
            <a:chExt cx="1055426" cy="778710"/>
          </a:xfrm>
        </p:grpSpPr>
        <p:sp>
          <p:nvSpPr>
            <p:cNvPr id="15" name="Flowchart: Magnetic Disk 14">
              <a:extLst>
                <a:ext uri="{FF2B5EF4-FFF2-40B4-BE49-F238E27FC236}">
                  <a16:creationId xmlns:a16="http://schemas.microsoft.com/office/drawing/2014/main" id="{92CD4CD1-55F3-45E8-928A-B889D7267F57}"/>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DE76F056-DBD9-4BB0-AB45-A66BF484FF7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17" name="Group 16">
            <a:extLst>
              <a:ext uri="{FF2B5EF4-FFF2-40B4-BE49-F238E27FC236}">
                <a16:creationId xmlns:a16="http://schemas.microsoft.com/office/drawing/2014/main" id="{0AB26B55-C04B-4AE5-83B1-325C987F23F7}"/>
              </a:ext>
            </a:extLst>
          </p:cNvPr>
          <p:cNvGrpSpPr/>
          <p:nvPr/>
        </p:nvGrpSpPr>
        <p:grpSpPr>
          <a:xfrm>
            <a:off x="11006381" y="3483897"/>
            <a:ext cx="1055426" cy="778710"/>
            <a:chOff x="9828715" y="1583994"/>
            <a:chExt cx="1055426" cy="778710"/>
          </a:xfrm>
        </p:grpSpPr>
        <p:sp>
          <p:nvSpPr>
            <p:cNvPr id="18" name="Flowchart: Magnetic Disk 17">
              <a:extLst>
                <a:ext uri="{FF2B5EF4-FFF2-40B4-BE49-F238E27FC236}">
                  <a16:creationId xmlns:a16="http://schemas.microsoft.com/office/drawing/2014/main" id="{619FA941-6F9D-4EF2-B6BB-0113B7CE3449}"/>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A587668A-B97A-402D-ABC3-FB4DAE16261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0" name="Arrow: Right 19">
            <a:extLst>
              <a:ext uri="{FF2B5EF4-FFF2-40B4-BE49-F238E27FC236}">
                <a16:creationId xmlns:a16="http://schemas.microsoft.com/office/drawing/2014/main" id="{A25CAA68-65C5-4504-88F8-ADC1C2449F13}"/>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1" name="Arrow: Right 20">
            <a:extLst>
              <a:ext uri="{FF2B5EF4-FFF2-40B4-BE49-F238E27FC236}">
                <a16:creationId xmlns:a16="http://schemas.microsoft.com/office/drawing/2014/main" id="{BAC3CC2D-AE46-47DC-B171-9AAC4C1BE82C}"/>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DA3416A7-16D8-4C9A-BC1F-F223FFE4FE24}"/>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CA507257-6C20-4276-9FDF-955102628DE7}"/>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Arrow: Left 24">
            <a:extLst>
              <a:ext uri="{FF2B5EF4-FFF2-40B4-BE49-F238E27FC236}">
                <a16:creationId xmlns:a16="http://schemas.microsoft.com/office/drawing/2014/main" id="{CA131580-0CC0-4037-8688-E154C5D1C69C}"/>
              </a:ext>
            </a:extLst>
          </p:cNvPr>
          <p:cNvSpPr/>
          <p:nvPr/>
        </p:nvSpPr>
        <p:spPr>
          <a:xfrm rot="16200000">
            <a:off x="9720511" y="540824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7" name="Picture 26">
            <a:extLst>
              <a:ext uri="{FF2B5EF4-FFF2-40B4-BE49-F238E27FC236}">
                <a16:creationId xmlns:a16="http://schemas.microsoft.com/office/drawing/2014/main" id="{29BED05D-2812-481D-BABD-98061CB398BB}"/>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29" name="Arrow: Right 28">
            <a:extLst>
              <a:ext uri="{FF2B5EF4-FFF2-40B4-BE49-F238E27FC236}">
                <a16:creationId xmlns:a16="http://schemas.microsoft.com/office/drawing/2014/main" id="{D5239045-01DA-458C-A760-A973A2D40344}"/>
              </a:ext>
            </a:extLst>
          </p:cNvPr>
          <p:cNvSpPr/>
          <p:nvPr/>
        </p:nvSpPr>
        <p:spPr>
          <a:xfrm rot="5400000">
            <a:off x="9730586" y="4117902"/>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3716F02-ED5A-456D-94EB-A7D455F9ADD7}"/>
              </a:ext>
            </a:extLst>
          </p:cNvPr>
          <p:cNvSpPr/>
          <p:nvPr/>
        </p:nvSpPr>
        <p:spPr>
          <a:xfrm>
            <a:off x="9490269" y="3453344"/>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Tree>
    <p:extLst>
      <p:ext uri="{BB962C8B-B14F-4D97-AF65-F5344CB8AC3E}">
        <p14:creationId xmlns:p14="http://schemas.microsoft.com/office/powerpoint/2010/main" val="69003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205464" y="1462953"/>
            <a:ext cx="11694289" cy="49570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system.  Please work with the Customer’s APS support engineer to configure the APS with these steps. This will require a restart of the APS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core-site.xml file on PDW control node to add Azure BLOB storage credential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This file is available under </a:t>
            </a:r>
            <a:r>
              <a:rPr kumimoji="0" lang="en-US" sz="1400" b="1" i="0" u="none" strike="noStrike" kern="1200" cap="none" spc="0" normalizeH="0" baseline="0" noProof="0">
                <a:ln>
                  <a:noFill/>
                </a:ln>
                <a:solidFill>
                  <a:srgbClr val="000000"/>
                </a:solidFill>
                <a:effectLst/>
                <a:uLnTx/>
                <a:uFillTx/>
                <a:latin typeface="Segoe UI"/>
                <a:ea typeface="+mn-ea"/>
                <a:cs typeface="+mn-cs"/>
              </a:rPr>
              <a:t>C:\Program Files\Microsoft SQL Server Parallel Data Warehouse\100\Hadoop\conf\</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startAt="2"/>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Ex: </a:t>
            </a: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3.     Restart PDW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1653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351631"/>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onfigure DNS forwarders with external DNS names on AD01 and AD02 (if not already don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600" b="0" i="0" u="none" strike="noStrike" kern="1200" cap="none" spc="0" normalizeH="0" baseline="0" noProof="0" dirty="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reate External Data Source (Linked to the Azure Blob Storage Account and a particular contai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CREAT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EXTERNAL</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DATA</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SOURC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lang="en-US" sz="1600" b="1" dirty="0">
                <a:solidFill>
                  <a:srgbClr val="000000"/>
                </a:solidFill>
                <a:latin typeface="Segoe"/>
              </a:rPr>
              <a:t>m</a:t>
            </a:r>
            <a:r>
              <a:rPr kumimoji="0" lang="en-US" sz="1600" b="1" i="0" u="none" strike="noStrike" kern="1200" cap="none" spc="0" normalizeH="0" baseline="0" noProof="0" dirty="0" err="1">
                <a:ln>
                  <a:noFill/>
                </a:ln>
                <a:solidFill>
                  <a:srgbClr val="000000"/>
                </a:solidFill>
                <a:effectLst/>
                <a:uLnTx/>
                <a:uFillTx/>
                <a:latin typeface="Segoe"/>
                <a:ea typeface="+mn-ea"/>
                <a:cs typeface="+mn-cs"/>
              </a:rPr>
              <a:t>yBlobDS</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with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TYP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HADOOP</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FF"/>
                </a:solidFill>
                <a:effectLst/>
                <a:uLnTx/>
                <a:uFillTx/>
                <a:latin typeface="Segoe"/>
                <a:ea typeface="+mn-ea"/>
                <a:cs typeface="+mn-cs"/>
              </a:rPr>
              <a:t>        	LOCATION</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wasbs</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en-US" sz="1600" b="0" i="0" u="none" strike="noStrike" kern="1200" cap="none" spc="0" normalizeH="0" baseline="0" noProof="0" dirty="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endParaRPr lang="fr-FR" sz="1600" dirty="0">
              <a:solidFill>
                <a:srgbClr val="000000"/>
              </a:solidFill>
              <a:latin typeface="Segoe"/>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Segoe"/>
              <a:ea typeface="+mn-ea"/>
              <a:cs typeface="+mn-cs"/>
            </a:endParaRPr>
          </a:p>
          <a:p>
            <a:pPr>
              <a:defRPr/>
            </a:pPr>
            <a:r>
              <a:rPr kumimoji="0" lang="en-US" b="0" i="0" u="none" strike="noStrike" kern="1200" cap="none" spc="0" normalizeH="0" baseline="0" noProof="0" dirty="0">
                <a:ln>
                  <a:noFill/>
                </a:ln>
                <a:solidFill>
                  <a:srgbClr val="000000"/>
                </a:solidFill>
                <a:effectLst/>
                <a:uLnTx/>
                <a:uFillTx/>
                <a:latin typeface="Segoe"/>
                <a:ea typeface="+mn-ea"/>
                <a:cs typeface="+mn-cs"/>
              </a:rPr>
              <a:t>3.  Create External File Format</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	CREAT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dirty="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After BLOB storage access is configured, the following steps need to be completed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40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161130" y="2138548"/>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a:t>
            </a: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a Master Key on the database (if not already don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Database Scoped Credential (linked to Azure Blob Storage Accoun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Data Source (Linked to the Azure Blob Storage Account and a particular   	contain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1065889"/>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2016 or higher) system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85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Goals and Benefi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1279693"/>
            <a:ext cx="10227365" cy="4298613"/>
          </a:xfrm>
          <a:prstGeom prst="rect">
            <a:avLst/>
          </a:prstGeom>
        </p:spPr>
        <p:txBody>
          <a:bodyPr wrap="square">
            <a:spAutoFit/>
          </a:bodyPr>
          <a:lstStyle/>
          <a:p>
            <a:pPr marL="148572" indent="0">
              <a:spcAft>
                <a:spcPts val="200"/>
              </a:spcAft>
              <a:buClr>
                <a:srgbClr val="8E0000"/>
              </a:buClr>
              <a:buSzPct val="110000"/>
              <a:buNone/>
              <a:defRPr/>
            </a:pPr>
            <a:r>
              <a:rPr lang="en-US" sz="2000" b="1" kern="0" dirty="0"/>
              <a:t>Goals:</a:t>
            </a:r>
          </a:p>
          <a:p>
            <a:pPr marL="765792" indent="-342900">
              <a:spcAft>
                <a:spcPts val="200"/>
              </a:spcAft>
              <a:buClr>
                <a:schemeClr val="tx1"/>
              </a:buClr>
              <a:buSzPct val="110000"/>
              <a:buFont typeface="Arial" panose="020B0604020202020204" pitchFamily="34" charset="0"/>
              <a:buChar char="•"/>
              <a:defRPr/>
            </a:pPr>
            <a:r>
              <a:rPr lang="en-US" sz="2000" kern="0" dirty="0"/>
              <a:t>Smooth and effective deployment to achieve customer success</a:t>
            </a:r>
          </a:p>
          <a:p>
            <a:pPr marL="765792" indent="-342900">
              <a:spcAft>
                <a:spcPts val="200"/>
              </a:spcAft>
              <a:buClr>
                <a:schemeClr val="tx1"/>
              </a:buClr>
              <a:buSzPct val="110000"/>
              <a:buFont typeface="Arial" panose="020B0604020202020204" pitchFamily="34" charset="0"/>
              <a:buChar char="•"/>
              <a:defRPr/>
            </a:pPr>
            <a:r>
              <a:rPr lang="en-US" sz="2000" kern="0" dirty="0"/>
              <a:t>Set up implementation work for success</a:t>
            </a:r>
          </a:p>
          <a:p>
            <a:pPr marL="765792" indent="-342900">
              <a:spcAft>
                <a:spcPts val="200"/>
              </a:spcAft>
              <a:buClr>
                <a:schemeClr val="tx1"/>
              </a:buClr>
              <a:buSzPct val="110000"/>
              <a:buFont typeface="Arial" panose="020B0604020202020204" pitchFamily="34" charset="0"/>
              <a:buChar char="•"/>
              <a:defRPr/>
            </a:pPr>
            <a:r>
              <a:rPr lang="en-US" sz="2000" kern="0" dirty="0"/>
              <a:t>Drive Partner business opportunities</a:t>
            </a:r>
          </a:p>
          <a:p>
            <a:pPr marL="765792" indent="-342900">
              <a:spcAft>
                <a:spcPts val="200"/>
              </a:spcAft>
              <a:buClr>
                <a:schemeClr val="tx1"/>
              </a:buClr>
              <a:buSzPct val="110000"/>
              <a:buFont typeface="Arial" panose="020B0604020202020204" pitchFamily="34" charset="0"/>
              <a:buChar char="•"/>
              <a:defRPr/>
            </a:pPr>
            <a:r>
              <a:rPr lang="en-US" sz="2000" kern="0" dirty="0"/>
              <a:t>Drive deployment of Azure </a:t>
            </a:r>
            <a:r>
              <a:rPr lang="en-US" sz="2000" kern="0" dirty="0" err="1"/>
              <a:t>SQLDW</a:t>
            </a:r>
            <a:endParaRPr lang="en-US" sz="2000" kern="0" dirty="0"/>
          </a:p>
          <a:p>
            <a:pPr marL="765792" indent="-342900">
              <a:spcAft>
                <a:spcPts val="200"/>
              </a:spcAft>
              <a:buClr>
                <a:schemeClr val="tx1"/>
              </a:buClr>
              <a:buSzPct val="110000"/>
              <a:buFont typeface="Arial" panose="020B0604020202020204" pitchFamily="34" charset="0"/>
              <a:buChar char="•"/>
              <a:defRPr/>
            </a:pPr>
            <a:r>
              <a:rPr lang="en-US" sz="2000" kern="0" dirty="0"/>
              <a:t>Drive quality references</a:t>
            </a:r>
          </a:p>
          <a:p>
            <a:endParaRPr lang="en-US" sz="2000" dirty="0"/>
          </a:p>
          <a:p>
            <a:r>
              <a:rPr lang="en-US" sz="2000" b="1" dirty="0"/>
              <a:t>  Achieved through:</a:t>
            </a:r>
          </a:p>
          <a:p>
            <a:pPr marL="765792" indent="-342900">
              <a:spcAft>
                <a:spcPts val="200"/>
              </a:spcAft>
              <a:buClr>
                <a:schemeClr val="tx1"/>
              </a:buClr>
              <a:buSzPct val="110000"/>
              <a:buFont typeface="Arial" panose="020B0604020202020204" pitchFamily="34" charset="0"/>
              <a:buChar char="•"/>
              <a:defRPr/>
            </a:pPr>
            <a:r>
              <a:rPr lang="en-US" sz="2000" kern="0" dirty="0"/>
              <a:t>Quality knowledge transfer to customers</a:t>
            </a:r>
          </a:p>
          <a:p>
            <a:pPr marL="765792" indent="-342900">
              <a:spcAft>
                <a:spcPts val="200"/>
              </a:spcAft>
              <a:buClr>
                <a:schemeClr val="tx1"/>
              </a:buClr>
              <a:buSzPct val="110000"/>
              <a:buFont typeface="Arial" panose="020B0604020202020204" pitchFamily="34" charset="0"/>
              <a:buChar char="•"/>
              <a:defRPr/>
            </a:pPr>
            <a:r>
              <a:rPr lang="en-US" sz="2000" kern="0" dirty="0"/>
              <a:t>Customer specific discovery and design</a:t>
            </a:r>
          </a:p>
          <a:p>
            <a:pPr marL="1257263" lvl="2" indent="-342900">
              <a:buClr>
                <a:schemeClr val="tx1"/>
              </a:buClr>
              <a:buFont typeface="Arial" panose="020B0604020202020204" pitchFamily="34" charset="0"/>
              <a:buChar char="•"/>
            </a:pPr>
            <a:r>
              <a:rPr lang="en-US" sz="2000" dirty="0"/>
              <a:t>Based on the customer’s business requirements </a:t>
            </a:r>
          </a:p>
          <a:p>
            <a:pPr marL="800082" lvl="1" indent="-342900">
              <a:buClr>
                <a:schemeClr val="tx1"/>
              </a:buClr>
              <a:buFont typeface="Arial" panose="020B0604020202020204" pitchFamily="34" charset="0"/>
              <a:buChar char="•"/>
            </a:pPr>
            <a:r>
              <a:rPr lang="en-US" sz="2000" dirty="0"/>
              <a:t>Deliver an implementable plan </a:t>
            </a:r>
          </a:p>
          <a:p>
            <a:pPr marL="800082" lvl="1" indent="-342900">
              <a:buClr>
                <a:schemeClr val="tx1"/>
              </a:buClr>
              <a:buFont typeface="Arial" panose="020B0604020202020204" pitchFamily="34" charset="0"/>
              <a:buChar char="•"/>
            </a:pPr>
            <a:r>
              <a:rPr lang="en-US" sz="2000" dirty="0"/>
              <a:t>Provide migration tools </a:t>
            </a:r>
          </a:p>
        </p:txBody>
      </p:sp>
    </p:spTree>
    <p:extLst>
      <p:ext uri="{BB962C8B-B14F-4D97-AF65-F5344CB8AC3E}">
        <p14:creationId xmlns:p14="http://schemas.microsoft.com/office/powerpoint/2010/main" val="142101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94628" y="1461147"/>
            <a:ext cx="11694288" cy="466419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MASTER</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KE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NCRYPTION</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B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PASSWOR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P@ssword!23’</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8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Calibri" panose="020F0502020204030204" pitchFamily="34" charset="0"/>
                <a:cs typeface="Consolas" panose="020B0609020204030204" pitchFamily="49" charset="0"/>
              </a:rPr>
              <a:t> </a:t>
            </a:r>
            <a:endParaRPr kumimoji="0" lang="en-US" sz="2800" b="0" i="0" u="none" strike="noStrike" kern="1200" cap="none" spc="0" normalizeH="0" baseline="0" noProof="0">
              <a:ln>
                <a:noFill/>
              </a:ln>
              <a:solidFill>
                <a:srgbClr val="FFFFFF"/>
              </a:solidFill>
              <a:effectLst/>
              <a:highlight>
                <a:srgbClr val="FFFFFF"/>
              </a:highligh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FF"/>
              </a:solidFill>
              <a:effectLst/>
              <a:uLnTx/>
              <a:uFillTx/>
              <a:latin typeface="Segoe"/>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BAS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SCOP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endParaRPr kumimoji="0" lang="en-US" sz="1600" b="1"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WITH</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IDENTITY</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ount Name</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SECRE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ThisisMaskedKeyLongNameLongStringGenerated</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err="1">
                <a:ln>
                  <a:noFill/>
                </a:ln>
                <a:solidFill>
                  <a:srgbClr val="FF0000"/>
                </a:solidFill>
                <a:effectLst/>
                <a:uLnTx/>
                <a:uFillTx/>
                <a:latin typeface="Segoe"/>
                <a:ea typeface="+mn-ea"/>
                <a:cs typeface="+mn-cs"/>
              </a:rPr>
              <a:t>GetThisKeyFromYourAzure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ess Ke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EXTERN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SOURC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a:ln>
                  <a:noFill/>
                </a:ln>
                <a:solidFill>
                  <a:srgbClr val="000000"/>
                </a:solidFill>
                <a:effectLst/>
                <a:uLnTx/>
                <a:uFillTx/>
                <a:latin typeface="Segoe"/>
                <a:ea typeface="+mn-ea"/>
                <a:cs typeface="+mn-cs"/>
              </a:rPr>
              <a:t>m</a:t>
            </a:r>
            <a:r>
              <a:rPr lang="en-US" sz="1600" b="1">
                <a:solidFill>
                  <a:srgbClr val="000000"/>
                </a:solidFill>
                <a:latin typeface="Segoe"/>
              </a:rPr>
              <a:t>y</a:t>
            </a:r>
            <a:r>
              <a:rPr kumimoji="0" lang="en-US" sz="1600" b="1" i="0" u="none" strike="noStrike" kern="1200" cap="none" spc="0" normalizeH="0" baseline="0" noProof="0" err="1">
                <a:ln>
                  <a:noFill/>
                </a:ln>
                <a:solidFill>
                  <a:srgbClr val="000000"/>
                </a:solidFill>
                <a:effectLst/>
                <a:uLnTx/>
                <a:uFillTx/>
                <a:latin typeface="Segoe"/>
                <a:ea typeface="+mn-ea"/>
                <a:cs typeface="+mn-cs"/>
              </a:rPr>
              <a:t>BlobDS</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with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TYP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HADOOP</a:t>
            </a:r>
            <a:r>
              <a:rPr kumimoji="0" lang="en-US" sz="1600" b="0" i="0" u="none" strike="noStrike" kern="1200" cap="none" spc="0" normalizeH="0" baseline="0" noProof="0">
                <a:ln>
                  <a:noFill/>
                </a:ln>
                <a:solidFill>
                  <a:srgbClr val="808080"/>
                </a:solidFill>
                <a:effectLst/>
                <a:uLnTx/>
                <a:uFillTx/>
                <a:latin typeface="Segoe"/>
                <a:ea typeface="+mn-ea"/>
                <a:cs typeface="+mn-cs"/>
              </a:rPr>
              <a:t>,</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FF"/>
                </a:solidFill>
                <a:effectLst/>
                <a:uLnTx/>
                <a:uFillTx/>
                <a:latin typeface="Segoe"/>
                <a:ea typeface="+mn-ea"/>
                <a:cs typeface="+mn-cs"/>
              </a:rPr>
              <a:t>        	LOCATION</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808080"/>
                </a:solidFill>
                <a:effectLst/>
                <a:uLnTx/>
                <a:uFillTx/>
                <a:latin typeface="Segoe"/>
                <a:ea typeface="+mn-ea"/>
                <a:cs typeface="+mn-cs"/>
              </a:rPr>
              <a:t>=</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wasbs</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a:ln>
                  <a:noFill/>
                </a:ln>
                <a:solidFill>
                  <a:srgbClr val="808080"/>
                </a:solidFill>
                <a:effectLst/>
                <a:uLnTx/>
                <a:uFillTx/>
                <a:latin typeface="Segoe"/>
                <a:ea typeface="+mn-ea"/>
                <a:cs typeface="+mn-cs"/>
              </a:rPr>
              <a:t>,</a:t>
            </a:r>
            <a:endParaRPr kumimoji="0" lang="fr-FR" sz="1600" b="0" i="0" u="none" strike="noStrike" kern="1200" cap="none" spc="0" normalizeH="0" baseline="0" noProof="0">
              <a:ln>
                <a:noFill/>
              </a:ln>
              <a:solidFill>
                <a:srgbClr val="000000"/>
              </a:solidFill>
              <a:effectLst/>
              <a:uLnTx/>
              <a:uFillTx/>
              <a:latin typeface="Segoe"/>
              <a:ea typeface="+mn-ea"/>
              <a:cs typeface="+mn-cs"/>
            </a:endParaRPr>
          </a:p>
          <a:p>
            <a:pPr lvl="1">
              <a:defRPr/>
            </a:pPr>
            <a:r>
              <a:rPr kumimoji="0" lang="en-US" sz="1600" b="0" i="0" u="none" strike="noStrike" kern="1200" cap="none" spc="0" normalizeH="0" baseline="0" noProof="0">
                <a:ln>
                  <a:noFill/>
                </a:ln>
                <a:solidFill>
                  <a:srgbClr val="0000FF"/>
                </a:solidFill>
                <a:effectLst/>
                <a:uLnTx/>
                <a:uFillTx/>
                <a:latin typeface="Segoe"/>
                <a:ea typeface="+mn-ea"/>
                <a:cs typeface="+mn-cs"/>
              </a:rPr>
              <a:t>        	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a:t>
            </a:r>
            <a:r>
              <a:rPr lang="en-US" sz="1600">
                <a:solidFill>
                  <a:srgbClr val="008000"/>
                </a:solidFill>
                <a:latin typeface="Segoe"/>
              </a:rPr>
              <a:t>This name must match the database scoped credential name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94628" y="889946"/>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Here is an exam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F18984F8-C35E-47E3-B6BE-D675AD3AB279}"/>
              </a:ext>
            </a:extLst>
          </p:cNvPr>
          <p:cNvSpPr/>
          <p:nvPr/>
        </p:nvSpPr>
        <p:spPr>
          <a:xfrm>
            <a:off x="304799" y="5419921"/>
            <a:ext cx="10828713" cy="863378"/>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901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Setup</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597945"/>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buFont typeface="+mj-lt"/>
              <a:buAutoNum type="arabicPeriod"/>
            </a:pPr>
            <a:r>
              <a:rPr lang="en-US" sz="2000">
                <a:solidFill>
                  <a:schemeClr val="tx1"/>
                </a:solidFill>
              </a:rPr>
              <a:t>Setup Polybase Connectivity to Azure Blob Storage</a:t>
            </a:r>
          </a:p>
          <a:p>
            <a:r>
              <a:rPr lang="en-US" sz="1600">
                <a:solidFill>
                  <a:srgbClr val="0000FF"/>
                </a:solidFill>
              </a:rPr>
              <a:t>	EXEC</a:t>
            </a:r>
            <a:r>
              <a:rPr lang="en-US" sz="1600">
                <a:solidFill>
                  <a:srgbClr val="000000"/>
                </a:solidFill>
              </a:rPr>
              <a:t> </a:t>
            </a:r>
            <a:r>
              <a:rPr lang="en-US" sz="1600" err="1">
                <a:solidFill>
                  <a:srgbClr val="800000"/>
                </a:solidFill>
              </a:rPr>
              <a:t>sp_configure</a:t>
            </a:r>
            <a:r>
              <a:rPr lang="en-US" sz="1600">
                <a:solidFill>
                  <a:srgbClr val="0000FF"/>
                </a:solidFill>
              </a:rPr>
              <a:t> </a:t>
            </a:r>
            <a:r>
              <a:rPr lang="en-US" sz="1600">
                <a:solidFill>
                  <a:srgbClr val="FF0000"/>
                </a:solidFill>
              </a:rPr>
              <a:t>'</a:t>
            </a:r>
            <a:r>
              <a:rPr lang="en-US" sz="1600" err="1">
                <a:solidFill>
                  <a:srgbClr val="FF0000"/>
                </a:solidFill>
              </a:rPr>
              <a:t>hadoop</a:t>
            </a:r>
            <a:r>
              <a:rPr lang="en-US" sz="1600">
                <a:solidFill>
                  <a:srgbClr val="FF0000"/>
                </a:solidFill>
              </a:rPr>
              <a:t> connectivity'</a:t>
            </a:r>
            <a:r>
              <a:rPr lang="en-US" sz="1600">
                <a:solidFill>
                  <a:srgbClr val="808080"/>
                </a:solidFill>
              </a:rPr>
              <a:t>,</a:t>
            </a:r>
            <a:r>
              <a:rPr lang="en-US" sz="1600">
                <a:solidFill>
                  <a:srgbClr val="000000"/>
                </a:solidFill>
              </a:rPr>
              <a:t> 4</a:t>
            </a:r>
            <a:r>
              <a:rPr lang="en-US" sz="1600">
                <a:solidFill>
                  <a:srgbClr val="808080"/>
                </a:solidFill>
              </a:rPr>
              <a:t>;</a:t>
            </a:r>
            <a:r>
              <a:rPr lang="en-US" sz="1600">
                <a:solidFill>
                  <a:srgbClr val="000000"/>
                </a:solidFill>
              </a:rPr>
              <a:t> </a:t>
            </a:r>
          </a:p>
          <a:p>
            <a:r>
              <a:rPr lang="en-US" sz="1600">
                <a:solidFill>
                  <a:srgbClr val="0000FF"/>
                </a:solidFill>
              </a:rPr>
              <a:t>	RECONFIGURE</a:t>
            </a:r>
            <a:r>
              <a:rPr lang="en-US" sz="1600">
                <a:solidFill>
                  <a:srgbClr val="808080"/>
                </a:solidFill>
              </a:rPr>
              <a:t>;</a:t>
            </a:r>
          </a:p>
          <a:p>
            <a:endParaRPr lang="en-US" sz="1600">
              <a:solidFill>
                <a:srgbClr val="808080"/>
              </a:solidFill>
            </a:endParaRPr>
          </a:p>
          <a:p>
            <a:pPr marL="457200" indent="-457200">
              <a:buFont typeface="+mj-lt"/>
              <a:buAutoNum type="arabicPeriod" startAt="2"/>
            </a:pPr>
            <a:r>
              <a:rPr lang="en-US" sz="2000">
                <a:solidFill>
                  <a:schemeClr val="tx1"/>
                </a:solidFill>
              </a:rPr>
              <a:t>Create Database Scoped Credential (linked to Azure Blob Storage Account) </a:t>
            </a:r>
          </a:p>
          <a:p>
            <a:pPr lvl="1"/>
            <a:r>
              <a:rPr lang="en-US" sz="1600">
                <a:solidFill>
                  <a:srgbClr val="0000FF"/>
                </a:solidFill>
                <a:latin typeface="Segoe"/>
              </a:rPr>
              <a:t>	CREATE</a:t>
            </a:r>
            <a:r>
              <a:rPr lang="en-US" sz="1600">
                <a:solidFill>
                  <a:srgbClr val="000000"/>
                </a:solidFill>
                <a:latin typeface="Segoe"/>
              </a:rPr>
              <a:t> </a:t>
            </a:r>
            <a:r>
              <a:rPr lang="en-US" sz="1600">
                <a:solidFill>
                  <a:srgbClr val="0000FF"/>
                </a:solidFill>
                <a:latin typeface="Segoe"/>
              </a:rPr>
              <a:t>DATABASE</a:t>
            </a:r>
            <a:r>
              <a:rPr lang="en-US" sz="1600">
                <a:solidFill>
                  <a:srgbClr val="000000"/>
                </a:solidFill>
                <a:latin typeface="Segoe"/>
              </a:rPr>
              <a:t> </a:t>
            </a:r>
            <a:r>
              <a:rPr lang="en-US" sz="1600">
                <a:solidFill>
                  <a:srgbClr val="0000FF"/>
                </a:solidFill>
                <a:latin typeface="Segoe"/>
              </a:rPr>
              <a:t>SCOPED</a:t>
            </a:r>
            <a:r>
              <a:rPr lang="en-US" sz="1600">
                <a:solidFill>
                  <a:srgbClr val="000000"/>
                </a:solidFill>
                <a:latin typeface="Segoe"/>
              </a:rPr>
              <a:t> </a:t>
            </a:r>
            <a:r>
              <a:rPr lang="en-US" sz="1600">
                <a:solidFill>
                  <a:srgbClr val="0000FF"/>
                </a:solidFill>
                <a:latin typeface="Segoe"/>
              </a:rPr>
              <a:t>CREDENTIAL</a:t>
            </a:r>
            <a:r>
              <a:rPr lang="en-US" sz="1600">
                <a:solidFill>
                  <a:srgbClr val="000000"/>
                </a:solidFill>
                <a:latin typeface="Segoe"/>
              </a:rPr>
              <a:t> </a:t>
            </a:r>
            <a:r>
              <a:rPr lang="en-US" sz="1600" b="1" err="1">
                <a:solidFill>
                  <a:srgbClr val="000000"/>
                </a:solidFill>
                <a:latin typeface="Segoe"/>
              </a:rPr>
              <a:t>myblobCred</a:t>
            </a:r>
            <a:endParaRPr lang="en-US" sz="1600" b="1">
              <a:solidFill>
                <a:srgbClr val="000000"/>
              </a:solidFill>
              <a:latin typeface="Segoe"/>
            </a:endParaRPr>
          </a:p>
          <a:p>
            <a:pPr lvl="2"/>
            <a:r>
              <a:rPr lang="en-US" sz="1600">
                <a:solidFill>
                  <a:srgbClr val="0000FF"/>
                </a:solidFill>
                <a:latin typeface="Segoe"/>
              </a:rPr>
              <a:t>	WITH</a:t>
            </a:r>
            <a:r>
              <a:rPr lang="en-US" sz="1600">
                <a:solidFill>
                  <a:srgbClr val="000000"/>
                </a:solidFill>
                <a:latin typeface="Segoe"/>
              </a:rPr>
              <a:t> </a:t>
            </a:r>
            <a:r>
              <a:rPr lang="en-US" sz="1600">
                <a:solidFill>
                  <a:srgbClr val="0000FF"/>
                </a:solidFill>
                <a:latin typeface="Segoe"/>
              </a:rPr>
              <a:t>IDENTITY</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myaccountname</a:t>
            </a:r>
            <a:r>
              <a:rPr lang="en-US" sz="1600">
                <a:solidFill>
                  <a:srgbClr val="FF0000"/>
                </a:solidFill>
                <a:latin typeface="Segoe"/>
              </a:rPr>
              <a:t>'</a:t>
            </a:r>
            <a:r>
              <a:rPr lang="en-US" sz="1600">
                <a:solidFill>
                  <a:srgbClr val="808080"/>
                </a:solidFill>
                <a:latin typeface="Segoe"/>
              </a:rPr>
              <a:t>,</a:t>
            </a:r>
            <a:r>
              <a:rPr lang="en-US" sz="1600">
                <a:solidFill>
                  <a:srgbClr val="000000"/>
                </a:solidFill>
                <a:latin typeface="Segoe"/>
              </a:rPr>
              <a:t>  </a:t>
            </a:r>
            <a:r>
              <a:rPr lang="en-US" sz="1600">
                <a:solidFill>
                  <a:srgbClr val="008000"/>
                </a:solidFill>
                <a:latin typeface="Segoe"/>
              </a:rPr>
              <a:t>-- Blob Storage Account Name</a:t>
            </a:r>
            <a:endParaRPr lang="en-US" sz="1600">
              <a:solidFill>
                <a:srgbClr val="000000"/>
              </a:solidFill>
              <a:latin typeface="Segoe"/>
            </a:endParaRPr>
          </a:p>
          <a:p>
            <a:pPr marL="2743200" lvl="2" indent="-914400"/>
            <a:r>
              <a:rPr lang="en-US" sz="1600">
                <a:solidFill>
                  <a:srgbClr val="0000FF"/>
                </a:solidFill>
                <a:latin typeface="Segoe"/>
              </a:rPr>
              <a:t>SECRET</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ThisisMaskedKeyLongNameLongStringGenerated</a:t>
            </a:r>
            <a:r>
              <a:rPr lang="en-US" sz="1600">
                <a:solidFill>
                  <a:srgbClr val="FF0000"/>
                </a:solidFill>
                <a:latin typeface="Segoe"/>
              </a:rPr>
              <a:t>   </a:t>
            </a:r>
            <a:r>
              <a:rPr lang="en-US" sz="1600" err="1">
                <a:solidFill>
                  <a:srgbClr val="FF0000"/>
                </a:solidFill>
                <a:latin typeface="Segoe"/>
              </a:rPr>
              <a:t>GetThisKeyFromYourAzureStorageAccount</a:t>
            </a:r>
            <a:r>
              <a:rPr lang="en-US" sz="1600">
                <a:solidFill>
                  <a:srgbClr val="FF0000"/>
                </a:solidFill>
                <a:latin typeface="Segoe"/>
              </a:rPr>
              <a:t>==‘    </a:t>
            </a:r>
            <a:r>
              <a:rPr lang="en-US" sz="1600">
                <a:solidFill>
                  <a:srgbClr val="008000"/>
                </a:solidFill>
                <a:latin typeface="Segoe"/>
              </a:rPr>
              <a:t>-- 	Blob Storage Access Key</a:t>
            </a:r>
          </a:p>
          <a:p>
            <a:pPr marL="342900" indent="-342900">
              <a:buFont typeface="+mj-lt"/>
              <a:buAutoNum type="arabicPeriod" startAt="2"/>
            </a:pPr>
            <a:endParaRPr lang="en-US" sz="1600">
              <a:solidFill>
                <a:srgbClr val="008000"/>
              </a:solidFill>
              <a:latin typeface="Segoe"/>
            </a:endParaRPr>
          </a:p>
          <a:p>
            <a:pPr marL="342900" indent="-342900">
              <a:buFont typeface="+mj-lt"/>
              <a:buAutoNum type="arabicPeriod" startAt="2"/>
            </a:pPr>
            <a:r>
              <a:rPr lang="en-US">
                <a:solidFill>
                  <a:schemeClr val="tx1"/>
                </a:solidFill>
                <a:latin typeface="Segoe"/>
              </a:rPr>
              <a:t>Create External Data Source (Linked to the Azure Blob Storage Account and a particular container)</a:t>
            </a:r>
          </a:p>
          <a:p>
            <a:r>
              <a:rPr lang="en-US">
                <a:solidFill>
                  <a:srgbClr val="0000FF"/>
                </a:solidFill>
                <a:latin typeface="Segoe"/>
              </a:rPr>
              <a:t>	</a:t>
            </a:r>
            <a:r>
              <a:rPr lang="en-US" sz="1600">
                <a:solidFill>
                  <a:srgbClr val="0000FF"/>
                </a:solidFill>
                <a:latin typeface="Segoe"/>
              </a:rPr>
              <a:t>CREATE</a:t>
            </a:r>
            <a:r>
              <a:rPr lang="en-US" sz="1600">
                <a:solidFill>
                  <a:srgbClr val="000000"/>
                </a:solidFill>
                <a:latin typeface="Segoe"/>
              </a:rPr>
              <a:t> </a:t>
            </a:r>
            <a:r>
              <a:rPr lang="en-US" sz="1600">
                <a:solidFill>
                  <a:srgbClr val="0000FF"/>
                </a:solidFill>
                <a:latin typeface="Segoe"/>
              </a:rPr>
              <a:t>EXTERNAL</a:t>
            </a:r>
            <a:r>
              <a:rPr lang="en-US" sz="1600">
                <a:solidFill>
                  <a:srgbClr val="000000"/>
                </a:solidFill>
                <a:latin typeface="Segoe"/>
              </a:rPr>
              <a:t> </a:t>
            </a:r>
            <a:r>
              <a:rPr lang="en-US" sz="1600">
                <a:solidFill>
                  <a:srgbClr val="0000FF"/>
                </a:solidFill>
                <a:latin typeface="Segoe"/>
              </a:rPr>
              <a:t>DATA</a:t>
            </a:r>
            <a:r>
              <a:rPr lang="en-US" sz="1600">
                <a:solidFill>
                  <a:srgbClr val="000000"/>
                </a:solidFill>
                <a:latin typeface="Segoe"/>
              </a:rPr>
              <a:t> </a:t>
            </a:r>
            <a:r>
              <a:rPr lang="en-US" sz="1600">
                <a:solidFill>
                  <a:srgbClr val="808080"/>
                </a:solidFill>
                <a:latin typeface="Segoe"/>
              </a:rPr>
              <a:t>SOURCE</a:t>
            </a:r>
            <a:r>
              <a:rPr lang="en-US" sz="1600">
                <a:solidFill>
                  <a:srgbClr val="000000"/>
                </a:solidFill>
                <a:latin typeface="Segoe"/>
              </a:rPr>
              <a:t> </a:t>
            </a:r>
            <a:r>
              <a:rPr lang="en-US" sz="1600" b="1" err="1">
                <a:solidFill>
                  <a:srgbClr val="000000"/>
                </a:solidFill>
                <a:latin typeface="Segoe"/>
              </a:rPr>
              <a:t>AzureBlobDS</a:t>
            </a:r>
            <a:r>
              <a:rPr lang="en-US" sz="1600">
                <a:solidFill>
                  <a:srgbClr val="000000"/>
                </a:solidFill>
                <a:latin typeface="Segoe"/>
              </a:rPr>
              <a:t> </a:t>
            </a:r>
            <a:r>
              <a:rPr lang="en-US" sz="1600">
                <a:solidFill>
                  <a:srgbClr val="0000FF"/>
                </a:solidFill>
                <a:latin typeface="Segoe"/>
              </a:rPr>
              <a:t>with </a:t>
            </a:r>
            <a:r>
              <a:rPr lang="en-US" sz="1600">
                <a:solidFill>
                  <a:srgbClr val="808080"/>
                </a:solidFill>
                <a:latin typeface="Segoe"/>
              </a:rPr>
              <a:t>(</a:t>
            </a:r>
            <a:r>
              <a:rPr lang="en-US" sz="1600">
                <a:solidFill>
                  <a:srgbClr val="000000"/>
                </a:solidFill>
                <a:latin typeface="Segoe"/>
              </a:rPr>
              <a:t>  </a:t>
            </a:r>
          </a:p>
          <a:p>
            <a:pPr lvl="1"/>
            <a:r>
              <a:rPr lang="en-US" sz="1600">
                <a:solidFill>
                  <a:srgbClr val="000000"/>
                </a:solidFill>
                <a:latin typeface="Segoe"/>
              </a:rPr>
              <a:t>        	</a:t>
            </a:r>
            <a:r>
              <a:rPr lang="en-US" sz="1600">
                <a:solidFill>
                  <a:srgbClr val="0000FF"/>
                </a:solidFill>
                <a:latin typeface="Segoe"/>
              </a:rPr>
              <a:t>TYPE</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0000FF"/>
                </a:solidFill>
                <a:latin typeface="Segoe"/>
              </a:rPr>
              <a:t>HADOOP</a:t>
            </a:r>
            <a:r>
              <a:rPr lang="en-US" sz="1600">
                <a:solidFill>
                  <a:srgbClr val="808080"/>
                </a:solidFill>
                <a:latin typeface="Segoe"/>
              </a:rPr>
              <a:t>,</a:t>
            </a:r>
            <a:endParaRPr lang="en-US" sz="1600">
              <a:solidFill>
                <a:srgbClr val="000000"/>
              </a:solidFill>
              <a:latin typeface="Segoe"/>
            </a:endParaRPr>
          </a:p>
          <a:p>
            <a:pPr lvl="1"/>
            <a:r>
              <a:rPr lang="fr-FR" sz="1600">
                <a:solidFill>
                  <a:srgbClr val="0000FF"/>
                </a:solidFill>
                <a:latin typeface="Segoe"/>
              </a:rPr>
              <a:t>        	LOCATION</a:t>
            </a:r>
            <a:r>
              <a:rPr lang="fr-FR" sz="1600">
                <a:solidFill>
                  <a:srgbClr val="000000"/>
                </a:solidFill>
                <a:latin typeface="Segoe"/>
              </a:rPr>
              <a:t> </a:t>
            </a:r>
            <a:r>
              <a:rPr lang="fr-FR" sz="1600">
                <a:solidFill>
                  <a:srgbClr val="808080"/>
                </a:solidFill>
                <a:latin typeface="Segoe"/>
              </a:rPr>
              <a:t>=</a:t>
            </a:r>
            <a:r>
              <a:rPr lang="fr-FR" sz="1600">
                <a:solidFill>
                  <a:srgbClr val="000000"/>
                </a:solidFill>
                <a:latin typeface="Segoe"/>
              </a:rPr>
              <a:t> </a:t>
            </a:r>
            <a:r>
              <a:rPr lang="fr-FR" sz="1600">
                <a:solidFill>
                  <a:srgbClr val="FF0000"/>
                </a:solidFill>
                <a:latin typeface="Segoe"/>
              </a:rPr>
              <a:t>'</a:t>
            </a:r>
            <a:r>
              <a:rPr lang="fr-FR" sz="1600" err="1">
                <a:solidFill>
                  <a:srgbClr val="FF0000"/>
                </a:solidFill>
                <a:latin typeface="Segoe"/>
              </a:rPr>
              <a:t>wasbs</a:t>
            </a:r>
            <a:r>
              <a:rPr lang="fr-FR" sz="1600">
                <a:solidFill>
                  <a:srgbClr val="FF0000"/>
                </a:solidFill>
                <a:latin typeface="Segoe"/>
              </a:rPr>
              <a:t>://</a:t>
            </a:r>
            <a:r>
              <a:rPr lang="fr-FR" sz="1600" err="1">
                <a:solidFill>
                  <a:srgbClr val="FF0000"/>
                </a:solidFill>
                <a:latin typeface="Segoe"/>
              </a:rPr>
              <a:t>mycontainer@my</a:t>
            </a:r>
            <a:r>
              <a:rPr lang="en-US" sz="1600" err="1">
                <a:solidFill>
                  <a:srgbClr val="FF0000"/>
                </a:solidFill>
                <a:latin typeface="Segoe"/>
              </a:rPr>
              <a:t>accountname</a:t>
            </a:r>
            <a:r>
              <a:rPr lang="fr-FR" sz="1600">
                <a:solidFill>
                  <a:srgbClr val="FF0000"/>
                </a:solidFill>
                <a:latin typeface="Segoe"/>
              </a:rPr>
              <a:t>.blob.core.windows.net’</a:t>
            </a:r>
            <a:r>
              <a:rPr lang="fr-FR" sz="1600">
                <a:solidFill>
                  <a:srgbClr val="808080"/>
                </a:solidFill>
                <a:latin typeface="Segoe"/>
              </a:rPr>
              <a:t>,</a:t>
            </a:r>
            <a:endParaRPr lang="fr-FR" sz="1600">
              <a:solidFill>
                <a:srgbClr val="000000"/>
              </a:solidFill>
              <a:latin typeface="Segoe"/>
            </a:endParaRPr>
          </a:p>
          <a:p>
            <a:pPr lvl="1"/>
            <a:r>
              <a:rPr lang="en-US" sz="1600">
                <a:solidFill>
                  <a:srgbClr val="0000FF"/>
                </a:solidFill>
                <a:latin typeface="Segoe"/>
              </a:rPr>
              <a:t>        	CREDENTIAL</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b="1" err="1">
                <a:solidFill>
                  <a:srgbClr val="000000"/>
                </a:solidFill>
                <a:latin typeface="Segoe"/>
              </a:rPr>
              <a:t>myblobCred</a:t>
            </a:r>
            <a:r>
              <a:rPr lang="en-US" sz="1600">
                <a:solidFill>
                  <a:srgbClr val="000000"/>
                </a:solidFill>
                <a:latin typeface="Segoe"/>
              </a:rPr>
              <a:t> </a:t>
            </a:r>
            <a:r>
              <a:rPr lang="en-US" sz="1600">
                <a:solidFill>
                  <a:srgbClr val="008000"/>
                </a:solidFill>
                <a:latin typeface="Segoe"/>
              </a:rPr>
              <a:t>-- This name must match the one created in step (2)</a:t>
            </a:r>
            <a:r>
              <a:rPr lang="en-US" sz="1600">
                <a:solidFill>
                  <a:srgbClr val="808080"/>
                </a:solidFill>
                <a:latin typeface="Segoe"/>
              </a:rPr>
              <a:t>)</a:t>
            </a:r>
            <a:r>
              <a:rPr lang="en-US" sz="1600">
                <a:solidFill>
                  <a:srgbClr val="000000"/>
                </a:solidFill>
                <a:latin typeface="Segoe"/>
              </a:rPr>
              <a:t>  </a:t>
            </a: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2000" b="0" i="0" u="none" strike="noStrike" kern="0" cap="none" spc="0" normalizeH="0" baseline="0" noProof="0">
                <a:ln>
                  <a:noFill/>
                </a:ln>
                <a:solidFill>
                  <a:srgbClr val="000000"/>
                </a:solidFill>
                <a:effectLst/>
                <a:uLnTx/>
                <a:uFillTx/>
                <a:latin typeface="Segoe UI"/>
                <a:ea typeface="+mn-ea"/>
                <a:cs typeface="+mn-cs"/>
              </a:rPr>
              <a:t>Polybase needs to be setup and configured on the APS system.  Please utilized the Customers DSE to configure the APS for Polybase.  Prior to APS 2016, this will require a reboot of the system.</a:t>
            </a:r>
          </a:p>
          <a:p>
            <a:pPr>
              <a:defRPr/>
            </a:pPr>
            <a:endParaRPr lang="en-US" sz="2000" kern="0">
              <a:solidFill>
                <a:srgbClr val="000000"/>
              </a:solidFill>
              <a:latin typeface="Segoe UI"/>
            </a:endParaRPr>
          </a:p>
          <a:p>
            <a:pPr>
              <a:defRPr/>
            </a:pPr>
            <a:r>
              <a:rPr lang="en-US" sz="2000" kern="0">
                <a:solidFill>
                  <a:srgbClr val="000000"/>
                </a:solidFill>
                <a:latin typeface="Segoe UI"/>
              </a:rPr>
              <a:t>After Polybase is configured the following steps need to be completed for Polybase to access the Blob storage.</a:t>
            </a:r>
          </a:p>
          <a:p>
            <a:pPr>
              <a:defRPr/>
            </a:pPr>
            <a:endParaRPr lang="en-US" sz="2000" kern="0">
              <a:solidFill>
                <a:srgbClr val="000000"/>
              </a:solidFill>
              <a:latin typeface="Segoe UI"/>
            </a:endParaRPr>
          </a:p>
        </p:txBody>
      </p:sp>
    </p:spTree>
    <p:extLst>
      <p:ext uri="{BB962C8B-B14F-4D97-AF65-F5344CB8AC3E}">
        <p14:creationId xmlns:p14="http://schemas.microsoft.com/office/powerpoint/2010/main" val="350648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4" y="1065890"/>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Exporting data from APS to import into SQLDW can be problematic due to delimiter issues and Datetime problems globally. </a:t>
            </a:r>
          </a:p>
          <a:p>
            <a:pPr lvl="2">
              <a:defRPr/>
            </a:pPr>
            <a:endParaRPr lang="en-US" sz="1600">
              <a:solidFill>
                <a:schemeClr val="bg2">
                  <a:lumMod val="50000"/>
                </a:schemeClr>
              </a:solidFill>
            </a:endParaRPr>
          </a:p>
          <a:p>
            <a:pPr marL="342900" indent="-342900">
              <a:buFont typeface="+mj-lt"/>
              <a:buAutoNum type="arabicPeriod"/>
              <a:defRPr/>
            </a:pPr>
            <a:r>
              <a:rPr lang="en-US" sz="1600">
                <a:solidFill>
                  <a:srgbClr val="000000"/>
                </a:solidFill>
              </a:rPr>
              <a:t>If using Delimited Text File Format, Newline and/or Carriage Return appears inside of varchar or char field, causing Polybase to treat it as end of the entire record. </a:t>
            </a:r>
          </a:p>
          <a:p>
            <a:pPr marL="1257300" lvl="2" indent="-342900">
              <a:buFont typeface="Wingdings" panose="05000000000000000000" pitchFamily="2" charset="2"/>
              <a:buChar char="Ø"/>
              <a:defRPr/>
            </a:pPr>
            <a:r>
              <a:rPr lang="en-US" sz="1600">
                <a:solidFill>
                  <a:schemeClr val="bg2">
                    <a:lumMod val="50000"/>
                  </a:schemeClr>
                </a:solidFill>
              </a:rPr>
              <a:t>Workaround: export to RC/ORC/Parquet.</a:t>
            </a:r>
            <a:endParaRPr lang="en-US" sz="1600" b="1">
              <a:solidFill>
                <a:srgbClr val="000000"/>
              </a:solidFill>
              <a:highlight>
                <a:srgbClr val="FFFF00"/>
              </a:highlight>
            </a:endParaRPr>
          </a:p>
          <a:p>
            <a:pPr lvl="2">
              <a:defRPr/>
            </a:pPr>
            <a:endParaRPr lang="en-US" sz="1600">
              <a:solidFill>
                <a:schemeClr val="bg2">
                  <a:lumMod val="50000"/>
                </a:schemeClr>
              </a:solidFill>
            </a:endParaRPr>
          </a:p>
          <a:p>
            <a:pPr marL="342900" indent="-342900">
              <a:buFont typeface="+mj-lt"/>
              <a:buAutoNum type="arabicPeriod"/>
              <a:defRPr/>
            </a:pPr>
            <a:r>
              <a:rPr lang="en-US" sz="1600">
                <a:solidFill>
                  <a:schemeClr val="tx1"/>
                </a:solidFill>
              </a:rPr>
              <a:t>If using </a:t>
            </a:r>
            <a:r>
              <a:rPr lang="en-US" sz="1600" err="1">
                <a:solidFill>
                  <a:schemeClr val="tx1"/>
                </a:solidFill>
              </a:rPr>
              <a:t>RCFile</a:t>
            </a:r>
            <a:r>
              <a:rPr lang="en-US" sz="1600">
                <a:solidFill>
                  <a:schemeClr val="tx1"/>
                </a:solidFill>
              </a:rPr>
              <a:t>, </a:t>
            </a:r>
            <a:r>
              <a:rPr lang="en-US" sz="1600" err="1">
                <a:solidFill>
                  <a:schemeClr val="tx1"/>
                </a:solidFill>
              </a:rPr>
              <a:t>ORCFile</a:t>
            </a:r>
            <a:r>
              <a:rPr lang="en-US" sz="1600">
                <a:solidFill>
                  <a:schemeClr val="tx1"/>
                </a:solidFill>
              </a:rPr>
              <a:t>, Parquet, Empty Text Values in original </a:t>
            </a:r>
            <a:r>
              <a:rPr lang="en-US" sz="1600">
                <a:solidFill>
                  <a:srgbClr val="000000"/>
                </a:solidFill>
              </a:rPr>
              <a:t>database appears as ‘empty’ in text file, causing importing process to translate it as null, which will not be accepted if the SQLDW table defines the field as ‘not null’. </a:t>
            </a:r>
          </a:p>
          <a:p>
            <a:pPr marL="1257300" lvl="2" indent="-342900">
              <a:buFont typeface="Wingdings" panose="05000000000000000000" pitchFamily="2" charset="2"/>
              <a:buChar char="Ø"/>
              <a:defRPr/>
            </a:pPr>
            <a:r>
              <a:rPr lang="en-US" sz="1600">
                <a:solidFill>
                  <a:schemeClr val="bg2">
                    <a:lumMod val="50000"/>
                  </a:schemeClr>
                </a:solidFill>
              </a:rPr>
              <a:t>Workaround 1: Clean up records in original DB where data is not valid or missing and should not be exported in the first place.  </a:t>
            </a:r>
          </a:p>
          <a:p>
            <a:pPr marL="1257300" lvl="2" indent="-342900">
              <a:buFont typeface="Wingdings" panose="05000000000000000000" pitchFamily="2" charset="2"/>
              <a:buChar char="Ø"/>
              <a:defRPr/>
            </a:pPr>
            <a:r>
              <a:rPr lang="en-US" sz="1600">
                <a:solidFill>
                  <a:schemeClr val="bg2">
                    <a:lumMod val="50000"/>
                  </a:schemeClr>
                </a:solidFill>
              </a:rPr>
              <a:t>Workaround 2: Temporarily change the empty strings in APS into a recognizable values that later can be replaced in SQLDW with empty string. </a:t>
            </a:r>
          </a:p>
          <a:p>
            <a:pPr marL="1257300" lvl="2" indent="-342900">
              <a:buFont typeface="Wingdings" panose="05000000000000000000" pitchFamily="2" charset="2"/>
              <a:buChar char="Ø"/>
              <a:defRPr/>
            </a:pPr>
            <a:r>
              <a:rPr lang="en-US" sz="1600">
                <a:solidFill>
                  <a:schemeClr val="bg2">
                    <a:lumMod val="50000"/>
                  </a:schemeClr>
                </a:solidFill>
              </a:rPr>
              <a:t>Workaround 3: Temporarily change the SQLDW column definition to allow Null. After Import, create new table with original APS table definition and copy data over to the new table from imported table. </a:t>
            </a:r>
          </a:p>
          <a:p>
            <a:pPr marL="342900" indent="-342900">
              <a:buFont typeface="+mj-lt"/>
              <a:buAutoNum type="arabicPeriod"/>
              <a:defRPr/>
            </a:pPr>
            <a:r>
              <a:rPr lang="en-US" sz="1600">
                <a:solidFill>
                  <a:srgbClr val="000000"/>
                </a:solidFill>
              </a:rPr>
              <a:t>Exporting to RC, ORC file format will cause the datetime on import to be converted to UTC.</a:t>
            </a:r>
          </a:p>
          <a:p>
            <a:pPr marL="1257300" lvl="2" indent="-342900">
              <a:buFont typeface="Wingdings" panose="05000000000000000000" pitchFamily="2" charset="2"/>
              <a:buChar char="Ø"/>
              <a:defRPr/>
            </a:pPr>
            <a:r>
              <a:rPr lang="en-US" sz="1600">
                <a:solidFill>
                  <a:schemeClr val="bg2">
                    <a:lumMod val="50000"/>
                  </a:schemeClr>
                </a:solidFill>
              </a:rPr>
              <a:t>Workaround: Convert the data field definition from </a:t>
            </a:r>
            <a:r>
              <a:rPr lang="en-US" sz="1600">
                <a:solidFill>
                  <a:srgbClr val="5191CD"/>
                </a:solidFill>
              </a:rPr>
              <a:t>datetime</a:t>
            </a:r>
            <a:r>
              <a:rPr lang="en-US" sz="1600">
                <a:solidFill>
                  <a:schemeClr val="bg2">
                    <a:lumMod val="50000"/>
                  </a:schemeClr>
                </a:solidFill>
              </a:rPr>
              <a:t> to </a:t>
            </a:r>
            <a:r>
              <a:rPr lang="en-US" sz="1600">
                <a:solidFill>
                  <a:srgbClr val="5191CD"/>
                </a:solidFill>
              </a:rPr>
              <a:t>varchar</a:t>
            </a:r>
            <a:r>
              <a:rPr lang="en-US" sz="1600">
                <a:solidFill>
                  <a:schemeClr val="bg2">
                    <a:lumMod val="50000"/>
                  </a:schemeClr>
                </a:solidFill>
              </a:rPr>
              <a:t> when export APS data. Then convert back to </a:t>
            </a:r>
            <a:r>
              <a:rPr lang="en-US" sz="1600">
                <a:solidFill>
                  <a:srgbClr val="5191CD"/>
                </a:solidFill>
              </a:rPr>
              <a:t>datetime</a:t>
            </a:r>
            <a:r>
              <a:rPr lang="en-US" sz="1600">
                <a:solidFill>
                  <a:schemeClr val="bg2">
                    <a:lumMod val="50000"/>
                  </a:schemeClr>
                </a:solidFill>
              </a:rPr>
              <a:t> when import data into SQLDW.</a:t>
            </a:r>
            <a:endParaRPr lang="en-US" sz="1600">
              <a:solidFill>
                <a:srgbClr val="000000"/>
              </a:solidFill>
            </a:endParaRPr>
          </a:p>
          <a:p>
            <a:pPr>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9528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39287" y="1247647"/>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Data export from APS and/or import into SQLDW may fail due to certain Polybase limitations, as explained below:</a:t>
            </a:r>
          </a:p>
          <a:p>
            <a:pPr lvl="2">
              <a:defRPr/>
            </a:pPr>
            <a:endParaRPr lang="en-US" sz="1600" dirty="0">
              <a:solidFill>
                <a:schemeClr val="bg2">
                  <a:lumMod val="50000"/>
                </a:schemeClr>
              </a:solidFill>
            </a:endParaRPr>
          </a:p>
          <a:p>
            <a:pPr marL="342900" indent="-342900">
              <a:buFont typeface="+mj-lt"/>
              <a:buAutoNum type="arabicPeriod"/>
              <a:defRPr/>
            </a:pPr>
            <a:r>
              <a:rPr lang="en-US" sz="1600" dirty="0">
                <a:solidFill>
                  <a:srgbClr val="000000"/>
                </a:solidFill>
              </a:rPr>
              <a:t>Using Delimited Text File Format – Line Feeds (LF) and/or Carriage Returns (CR) embedded inside a string field.</a:t>
            </a:r>
          </a:p>
          <a:p>
            <a:pPr>
              <a:defRPr/>
            </a:pPr>
            <a:r>
              <a:rPr lang="en-US" sz="1600" dirty="0">
                <a:solidFill>
                  <a:srgbClr val="000000"/>
                </a:solidFill>
              </a:rPr>
              <a:t>	Polybase treats these characters as first-class citizens and breaks the strings during the export. </a:t>
            </a:r>
          </a:p>
          <a:p>
            <a:pPr marL="1257300" lvl="2" indent="-342900">
              <a:buFont typeface="Wingdings" panose="05000000000000000000" pitchFamily="2" charset="2"/>
              <a:buChar char="Ø"/>
              <a:defRPr/>
            </a:pPr>
            <a:r>
              <a:rPr lang="en-US" sz="1600" dirty="0">
                <a:solidFill>
                  <a:schemeClr val="bg2">
                    <a:lumMod val="50000"/>
                  </a:schemeClr>
                </a:solidFill>
              </a:rPr>
              <a:t>Workaround 1: export using </a:t>
            </a:r>
            <a:r>
              <a:rPr lang="en-US" sz="1600" dirty="0" err="1">
                <a:solidFill>
                  <a:schemeClr val="bg2">
                    <a:lumMod val="50000"/>
                  </a:schemeClr>
                </a:solidFill>
              </a:rPr>
              <a:t>RCFile</a:t>
            </a:r>
            <a:r>
              <a:rPr lang="en-US" sz="1600" dirty="0">
                <a:solidFill>
                  <a:schemeClr val="bg2">
                    <a:lumMod val="50000"/>
                  </a:schemeClr>
                </a:solidFill>
              </a:rPr>
              <a:t>/ORC/Parquet File Format</a:t>
            </a:r>
          </a:p>
          <a:p>
            <a:pPr marL="1257300" lvl="2" indent="-342900">
              <a:buFont typeface="Wingdings" panose="05000000000000000000" pitchFamily="2" charset="2"/>
              <a:buChar char="Ø"/>
              <a:defRPr/>
            </a:pPr>
            <a:r>
              <a:rPr lang="en-US" sz="1600" dirty="0">
                <a:solidFill>
                  <a:schemeClr val="bg2">
                    <a:lumMod val="50000"/>
                  </a:schemeClr>
                </a:solidFill>
              </a:rPr>
              <a:t>Workaround 2: Replace embedded CR/LFs with any other supported characters during the export</a:t>
            </a:r>
          </a:p>
          <a:p>
            <a:pPr marL="1257300" lvl="2" indent="-342900">
              <a:buFont typeface="Wingdings" panose="05000000000000000000" pitchFamily="2" charset="2"/>
              <a:buChar char="Ø"/>
              <a:defRPr/>
            </a:pPr>
            <a:endParaRPr lang="en-US" sz="1600" dirty="0">
              <a:solidFill>
                <a:schemeClr val="bg2">
                  <a:lumMod val="50000"/>
                </a:schemeClr>
              </a:solidFill>
            </a:endParaRPr>
          </a:p>
          <a:p>
            <a:pPr>
              <a:defRPr/>
            </a:pPr>
            <a:r>
              <a:rPr lang="en-US" sz="1600" dirty="0">
                <a:solidFill>
                  <a:schemeClr val="tx1"/>
                </a:solidFill>
              </a:rPr>
              <a:t>2.   Using </a:t>
            </a:r>
            <a:r>
              <a:rPr lang="en-US" sz="1600" dirty="0" err="1">
                <a:solidFill>
                  <a:schemeClr val="tx1"/>
                </a:solidFill>
              </a:rPr>
              <a:t>RCFile</a:t>
            </a:r>
            <a:r>
              <a:rPr lang="en-US" sz="1600" dirty="0">
                <a:solidFill>
                  <a:schemeClr val="tx1"/>
                </a:solidFill>
              </a:rPr>
              <a:t>/ORC/Parquet File Format, blank Values in string column will be implicitly converted to NULL during export.</a:t>
            </a:r>
            <a:endParaRPr lang="en-US" sz="1600" dirty="0">
              <a:solidFill>
                <a:srgbClr val="000000"/>
              </a:solidFill>
            </a:endParaRPr>
          </a:p>
          <a:p>
            <a:pPr>
              <a:defRPr/>
            </a:pPr>
            <a:r>
              <a:rPr lang="en-US" sz="1600" dirty="0">
                <a:solidFill>
                  <a:schemeClr val="tx1"/>
                </a:solidFill>
              </a:rPr>
              <a:t>	</a:t>
            </a:r>
            <a:r>
              <a:rPr lang="en-US" sz="1600" dirty="0">
                <a:solidFill>
                  <a:srgbClr val="000000"/>
                </a:solidFill>
              </a:rPr>
              <a:t> Export will fail if the string column is defined as NOT NULL. Possible data corruption if customer wants to treat 	 	 NULLs and blanks distinctly</a:t>
            </a:r>
          </a:p>
          <a:p>
            <a:pPr marL="1257300" lvl="2" indent="-342900">
              <a:buFont typeface="Wingdings" panose="05000000000000000000" pitchFamily="2" charset="2"/>
              <a:buChar char="Ø"/>
              <a:defRPr/>
            </a:pPr>
            <a:r>
              <a:rPr lang="en-US" sz="1600" dirty="0">
                <a:solidFill>
                  <a:schemeClr val="bg2">
                    <a:lumMod val="50000"/>
                  </a:schemeClr>
                </a:solidFill>
              </a:rPr>
              <a:t>Recommendation: Use Delimited Text File Format. </a:t>
            </a:r>
          </a:p>
          <a:p>
            <a:pPr marL="1257300" lvl="2" indent="-342900">
              <a:buFont typeface="Wingdings" panose="05000000000000000000" pitchFamily="2" charset="2"/>
              <a:buChar char="Ø"/>
              <a:defRPr/>
            </a:pPr>
            <a:r>
              <a:rPr lang="en-US" sz="1600" dirty="0">
                <a:solidFill>
                  <a:schemeClr val="bg2">
                    <a:lumMod val="50000"/>
                  </a:schemeClr>
                </a:solidFill>
              </a:rPr>
              <a:t>Workaround 1: Clean up data in source DB to remove/replace any unnecessary blank values  </a:t>
            </a:r>
          </a:p>
          <a:p>
            <a:pPr marL="1257300" lvl="2" indent="-342900">
              <a:buFont typeface="Wingdings" panose="05000000000000000000" pitchFamily="2" charset="2"/>
              <a:buChar char="Ø"/>
              <a:defRPr/>
            </a:pPr>
            <a:r>
              <a:rPr lang="en-US" sz="1600" dirty="0">
                <a:solidFill>
                  <a:schemeClr val="bg2">
                    <a:lumMod val="50000"/>
                  </a:schemeClr>
                </a:solidFill>
              </a:rPr>
              <a:t>Workaround 2: Temporarily change the empty strings in source DB to supported values, replace them back to empty strings once import is complete</a:t>
            </a:r>
          </a:p>
          <a:p>
            <a:pPr marL="1257300" lvl="2" indent="-342900">
              <a:buFont typeface="Wingdings" panose="05000000000000000000" pitchFamily="2" charset="2"/>
              <a:buChar char="Ø"/>
              <a:defRPr/>
            </a:pPr>
            <a:r>
              <a:rPr lang="en-US" sz="1600" dirty="0">
                <a:solidFill>
                  <a:schemeClr val="bg2">
                    <a:lumMod val="50000"/>
                  </a:schemeClr>
                </a:solidFill>
              </a:rPr>
              <a:t>Workaround 3: Temporarily change the SQLDW column definition to allow Null. After Import, create new table with original APS table definition and CTAS data over to the new table from imported table. </a:t>
            </a:r>
          </a:p>
          <a:p>
            <a:pPr marL="1257300" lvl="2" indent="-342900">
              <a:buFont typeface="Wingdings" panose="05000000000000000000" pitchFamily="2" charset="2"/>
              <a:buChar char="Ø"/>
              <a:defRPr/>
            </a:pPr>
            <a:r>
              <a:rPr lang="en-US" sz="1600" dirty="0">
                <a:solidFill>
                  <a:schemeClr val="tx1"/>
                </a:solidFill>
              </a:rPr>
              <a:t>Workaround 4 (Not recommended): Set </a:t>
            </a:r>
            <a:r>
              <a:rPr lang="en-US" sz="1600" dirty="0" err="1">
                <a:solidFill>
                  <a:schemeClr val="tx1"/>
                </a:solidFill>
              </a:rPr>
              <a:t>Reject_Value</a:t>
            </a:r>
            <a:r>
              <a:rPr lang="en-US" sz="1600" dirty="0">
                <a:solidFill>
                  <a:schemeClr val="tx1"/>
                </a:solidFill>
              </a:rPr>
              <a:t> in external table definition to a higher value so that errored rows can be ignored during the export. Even if export does not throw errors, not all records will be imported. </a:t>
            </a:r>
          </a:p>
          <a:p>
            <a:pPr>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37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3" y="1083337"/>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Exporting datetime data using </a:t>
            </a:r>
            <a:r>
              <a:rPr kumimoji="0" lang="en-US" sz="1600" b="0" i="0" u="none" strike="noStrike" kern="1200" cap="none" spc="0" normalizeH="0" baseline="0" noProof="0" dirty="0" err="1">
                <a:ln>
                  <a:noFill/>
                </a:ln>
                <a:solidFill>
                  <a:srgbClr val="000000"/>
                </a:solidFill>
                <a:effectLst/>
                <a:uLnTx/>
                <a:uFillTx/>
                <a:latin typeface="Segoe UI"/>
                <a:ea typeface="+mn-ea"/>
                <a:cs typeface="+mn-cs"/>
              </a:rPr>
              <a:t>RCFile</a:t>
            </a:r>
            <a:r>
              <a:rPr kumimoji="0" lang="en-US" sz="1600" b="0" i="0" u="none" strike="noStrike" kern="1200" cap="none" spc="0" normalizeH="0" baseline="0" noProof="0" dirty="0">
                <a:ln>
                  <a:noFill/>
                </a:ln>
                <a:solidFill>
                  <a:srgbClr val="000000"/>
                </a:solidFill>
                <a:effectLst/>
                <a:uLnTx/>
                <a:uFillTx/>
                <a:latin typeface="Segoe UI"/>
                <a:ea typeface="+mn-ea"/>
                <a:cs typeface="+mn-cs"/>
              </a:rPr>
              <a:t>, ORC, or ORC format </a:t>
            </a:r>
          </a:p>
          <a:p>
            <a:pPr lvl="1">
              <a:defRPr/>
            </a:pPr>
            <a:r>
              <a:rPr lang="en-US" sz="1600" dirty="0">
                <a:solidFill>
                  <a:srgbClr val="000000"/>
                </a:solidFill>
                <a:latin typeface="Segoe UI"/>
              </a:rPr>
              <a:t>Datetime values will </a:t>
            </a:r>
            <a:r>
              <a:rPr kumimoji="0" lang="en-US" sz="1600" b="0" i="0" u="none" strike="noStrike" kern="1200" cap="none" spc="0" normalizeH="0" baseline="0" noProof="0" dirty="0">
                <a:ln>
                  <a:noFill/>
                </a:ln>
                <a:solidFill>
                  <a:srgbClr val="000000"/>
                </a:solidFill>
                <a:effectLst/>
                <a:uLnTx/>
                <a:uFillTx/>
                <a:latin typeface="Segoe UI"/>
                <a:ea typeface="+mn-ea"/>
                <a:cs typeface="+mn-cs"/>
              </a:rPr>
              <a:t>be converted to UTC during the import.</a:t>
            </a:r>
          </a:p>
          <a:p>
            <a:pPr marL="1257300" lvl="2" indent="-342900">
              <a:buFont typeface="Wingdings" panose="05000000000000000000" pitchFamily="2" charset="2"/>
              <a:buChar char="Ø"/>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Convert the datetime values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varchar</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export. Convert values back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datetime</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import to SQLDW. Ex: </a:t>
            </a:r>
            <a:r>
              <a:rPr lang="en-US" sz="1200" b="1" i="1" dirty="0">
                <a:solidFill>
                  <a:schemeClr val="tx1"/>
                </a:solidFill>
              </a:rPr>
              <a:t>SELECT CONVERT(NVARCHAR(25), </a:t>
            </a:r>
            <a:r>
              <a:rPr lang="en-US" sz="1200" b="1" i="1" dirty="0" err="1">
                <a:solidFill>
                  <a:schemeClr val="tx1"/>
                </a:solidFill>
              </a:rPr>
              <a:t>PostTime</a:t>
            </a:r>
            <a:r>
              <a:rPr lang="en-US" sz="1200" b="1" i="1" dirty="0">
                <a:solidFill>
                  <a:schemeClr val="tx1"/>
                </a:solidFill>
              </a:rPr>
              <a:t>, 121) AS </a:t>
            </a:r>
            <a:r>
              <a:rPr lang="en-US" sz="1200" b="1" i="1" dirty="0" err="1">
                <a:solidFill>
                  <a:schemeClr val="tx1"/>
                </a:solidFill>
              </a:rPr>
              <a:t>PostTime</a:t>
            </a:r>
            <a:r>
              <a:rPr lang="en-US" sz="1200" b="1" i="1" dirty="0">
                <a:solidFill>
                  <a:schemeClr val="tx1"/>
                </a:solidFill>
              </a:rPr>
              <a:t> FROM [</a:t>
            </a:r>
            <a:r>
              <a:rPr lang="en-US" sz="1200" b="1" i="1" dirty="0" err="1">
                <a:solidFill>
                  <a:schemeClr val="tx1"/>
                </a:solidFill>
              </a:rPr>
              <a:t>EXTDatabaseLog</a:t>
            </a:r>
            <a:r>
              <a:rPr lang="en-US" sz="1200" b="1" i="1" dirty="0">
                <a:solidFill>
                  <a:schemeClr val="tx1"/>
                </a:solidFill>
              </a:rPr>
              <a:t>]</a:t>
            </a:r>
            <a:endParaRPr kumimoji="0" lang="en-US" sz="1600" b="1" i="1" u="none" strike="noStrike" kern="1200" cap="none" spc="0" normalizeH="0" baseline="0" noProof="0" dirty="0">
              <a:ln>
                <a:noFill/>
              </a:ln>
              <a:solidFill>
                <a:schemeClr val="tx1"/>
              </a:solidFill>
              <a:effectLst/>
              <a:uLnTx/>
              <a:uFillTx/>
              <a:latin typeface="Segoe UI"/>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Use Delimited Text file format for export/import.</a:t>
            </a: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sz="1600" kern="0" dirty="0">
                <a:solidFill>
                  <a:srgbClr val="000000"/>
                </a:solidFill>
                <a:latin typeface="Segoe UI"/>
              </a:rPr>
              <a:t>Exporting with USE_TYPE_DEFAULT set to TRUE in External File Format Definition.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This may cause unintended data value changes, as it will convert all blank values in string columns to NULLs,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numeric/float columns to ‘0’ and in DATETIME columns to ‘1900-01-01’</a:t>
            </a:r>
          </a:p>
          <a:p>
            <a:pPr marL="1257300" lvl="2" indent="-342900">
              <a:buFont typeface="Wingdings" panose="05000000000000000000" pitchFamily="2" charset="2"/>
              <a:buChar char="Ø"/>
              <a:defRPr/>
            </a:pPr>
            <a:r>
              <a:rPr lang="en-US" sz="1600" dirty="0">
                <a:solidFill>
                  <a:srgbClr val="D2D2D2">
                    <a:lumMod val="50000"/>
                  </a:srgbClr>
                </a:solidFill>
                <a:latin typeface="Segoe UI"/>
              </a:rPr>
              <a:t>Recommendation: Set the USE_TYPE_DEFAULT to FALSE and take any appropriate action on the blank values before the ex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D2D2D2">
                  <a:lumMod val="50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0" dirty="0">
                <a:solidFill>
                  <a:srgbClr val="000000"/>
                </a:solidFill>
                <a:latin typeface="Segoe UI"/>
              </a:rPr>
              <a:t>	</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1425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22248" y="1190693"/>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5.   Exporting data to Premium BLOB storage or AD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External table creation with the location pointing to Premium BLOB storage or ADLS will fail as it is currently not       	supported</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Standard BLOB storage account as the location </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2: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6"/>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ing data from very large tabl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 may fail intermittently due to network bandwidth or Java related issue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Export the data from large tables in batches (Ex: by partition, by filter condition etc.)</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145161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FC9CA311-1E9C-4A08-9C0B-1AF4225551F3}"/>
              </a:ext>
            </a:extLst>
          </p:cNvPr>
          <p:cNvSpPr txBox="1"/>
          <p:nvPr/>
        </p:nvSpPr>
        <p:spPr>
          <a:xfrm>
            <a:off x="975681" y="1010447"/>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Summary of Issues and Workaround for Using Delimited Text, RF File, ORC File, and Parquet File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graphicFrame>
        <p:nvGraphicFramePr>
          <p:cNvPr id="2" name="Table 1">
            <a:extLst>
              <a:ext uri="{FF2B5EF4-FFF2-40B4-BE49-F238E27FC236}">
                <a16:creationId xmlns:a16="http://schemas.microsoft.com/office/drawing/2014/main" id="{315AC2D5-426E-40CF-B81A-F5D78B4B854C}"/>
              </a:ext>
            </a:extLst>
          </p:cNvPr>
          <p:cNvGraphicFramePr>
            <a:graphicFrameLocks noGrp="1"/>
          </p:cNvGraphicFramePr>
          <p:nvPr>
            <p:extLst>
              <p:ext uri="{D42A27DB-BD31-4B8C-83A1-F6EECF244321}">
                <p14:modId xmlns:p14="http://schemas.microsoft.com/office/powerpoint/2010/main" val="2269526439"/>
              </p:ext>
            </p:extLst>
          </p:nvPr>
        </p:nvGraphicFramePr>
        <p:xfrm>
          <a:off x="891946" y="1349001"/>
          <a:ext cx="10408106" cy="4900560"/>
        </p:xfrm>
        <a:graphic>
          <a:graphicData uri="http://schemas.openxmlformats.org/drawingml/2006/table">
            <a:tbl>
              <a:tblPr/>
              <a:tblGrid>
                <a:gridCol w="1164898">
                  <a:extLst>
                    <a:ext uri="{9D8B030D-6E8A-4147-A177-3AD203B41FA5}">
                      <a16:colId xmlns:a16="http://schemas.microsoft.com/office/drawing/2014/main" val="3866953881"/>
                    </a:ext>
                  </a:extLst>
                </a:gridCol>
                <a:gridCol w="1582742">
                  <a:extLst>
                    <a:ext uri="{9D8B030D-6E8A-4147-A177-3AD203B41FA5}">
                      <a16:colId xmlns:a16="http://schemas.microsoft.com/office/drawing/2014/main" val="2292897558"/>
                    </a:ext>
                  </a:extLst>
                </a:gridCol>
                <a:gridCol w="1962600">
                  <a:extLst>
                    <a:ext uri="{9D8B030D-6E8A-4147-A177-3AD203B41FA5}">
                      <a16:colId xmlns:a16="http://schemas.microsoft.com/office/drawing/2014/main" val="155733586"/>
                    </a:ext>
                  </a:extLst>
                </a:gridCol>
                <a:gridCol w="1823317">
                  <a:extLst>
                    <a:ext uri="{9D8B030D-6E8A-4147-A177-3AD203B41FA5}">
                      <a16:colId xmlns:a16="http://schemas.microsoft.com/office/drawing/2014/main" val="3865021620"/>
                    </a:ext>
                  </a:extLst>
                </a:gridCol>
                <a:gridCol w="1949936">
                  <a:extLst>
                    <a:ext uri="{9D8B030D-6E8A-4147-A177-3AD203B41FA5}">
                      <a16:colId xmlns:a16="http://schemas.microsoft.com/office/drawing/2014/main" val="2249551472"/>
                    </a:ext>
                  </a:extLst>
                </a:gridCol>
                <a:gridCol w="1924613">
                  <a:extLst>
                    <a:ext uri="{9D8B030D-6E8A-4147-A177-3AD203B41FA5}">
                      <a16:colId xmlns:a16="http://schemas.microsoft.com/office/drawing/2014/main" val="275510763"/>
                    </a:ext>
                  </a:extLst>
                </a:gridCol>
              </a:tblGrid>
              <a:tr h="210454">
                <a:tc>
                  <a:txBody>
                    <a:bodyPr/>
                    <a:lstStyle/>
                    <a:p>
                      <a:pPr algn="l" fontAlgn="b"/>
                      <a:r>
                        <a:rPr lang="en-US" sz="1100" b="0" i="0" u="none" strike="noStrike">
                          <a:solidFill>
                            <a:srgbClr val="000000"/>
                          </a:solidFill>
                          <a:effectLst/>
                          <a:latin typeface="Calibri" panose="020F0502020204030204" pitchFamily="34" charset="0"/>
                        </a:rPr>
                        <a:t>Export/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dirty="0">
                          <a:solidFill>
                            <a:srgbClr val="000000"/>
                          </a:solidFill>
                          <a:effectLst/>
                          <a:latin typeface="Calibri" panose="020F0502020204030204" pitchFamily="34" charset="0"/>
                        </a:rPr>
                        <a:t>Scenarios</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DELIMITEDTEXT-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O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Parquet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266247490"/>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3869874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139660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068977176"/>
                  </a:ext>
                </a:extLst>
              </a:tr>
              <a:tr h="691491">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Empty strings in "Not Null" columns cause errors.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a cleansing necessary.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382967662"/>
                  </a:ext>
                </a:extLst>
              </a:tr>
              <a:tr h="1142463">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Cannot Export Dates with Mixed Formats. Work around: Convert Dates to varchar (Export) and then convert back to Dates (Impor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41039188"/>
                  </a:ext>
                </a:extLst>
              </a:tr>
              <a:tr h="190410">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209008607"/>
                  </a:ext>
                </a:extLst>
              </a:tr>
              <a:tr h="19041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40941925"/>
                  </a:ext>
                </a:extLst>
              </a:tr>
              <a:tr h="380821">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 if the right string delimiter is used.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41030756"/>
                  </a:ext>
                </a:extLst>
              </a:tr>
              <a:tr h="57123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Problem - MSG107090 - Error:  (Tokenization failed), Error: No closing string delimiter. (Issue #1)</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030387135"/>
                  </a:ext>
                </a:extLst>
              </a:tr>
              <a:tr h="380821">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069879282"/>
                  </a:ext>
                </a:extLst>
              </a:tr>
              <a:tr h="571230">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dirty="0">
                          <a:solidFill>
                            <a:srgbClr val="000000"/>
                          </a:solidFill>
                          <a:effectLst/>
                          <a:latin typeface="Calibri" panose="020F0502020204030204" pitchFamily="34" charset="0"/>
                        </a:rPr>
                        <a:t>Workaround Method: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68198605"/>
                  </a:ext>
                </a:extLst>
              </a:tr>
            </a:tbl>
          </a:graphicData>
        </a:graphic>
      </p:graphicFrame>
      <p:sp>
        <p:nvSpPr>
          <p:cNvPr id="25" name="TextBox 24">
            <a:extLst>
              <a:ext uri="{FF2B5EF4-FFF2-40B4-BE49-F238E27FC236}">
                <a16:creationId xmlns:a16="http://schemas.microsoft.com/office/drawing/2014/main" id="{6F17DCF7-BE4D-41B9-952E-675CC7A8B55F}"/>
              </a:ext>
            </a:extLst>
          </p:cNvPr>
          <p:cNvSpPr txBox="1"/>
          <p:nvPr/>
        </p:nvSpPr>
        <p:spPr>
          <a:xfrm>
            <a:off x="1202894" y="6249561"/>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All tests performed with APS 2016 and SQLDW Gen1.  Results may differ for older/difference APS appliances.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2826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7866" y="15322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to SQLDW Conversion – SP conversation</a:t>
            </a:r>
          </a:p>
        </p:txBody>
      </p:sp>
      <p:graphicFrame>
        <p:nvGraphicFramePr>
          <p:cNvPr id="25" name="Table 24">
            <a:extLst>
              <a:ext uri="{FF2B5EF4-FFF2-40B4-BE49-F238E27FC236}">
                <a16:creationId xmlns:a16="http://schemas.microsoft.com/office/drawing/2014/main" id="{E951E5CF-4256-4ED5-A32C-20D292BD76C8}"/>
              </a:ext>
            </a:extLst>
          </p:cNvPr>
          <p:cNvGraphicFramePr>
            <a:graphicFrameLocks noGrp="1"/>
          </p:cNvGraphicFramePr>
          <p:nvPr>
            <p:extLst>
              <p:ext uri="{D42A27DB-BD31-4B8C-83A1-F6EECF244321}">
                <p14:modId xmlns:p14="http://schemas.microsoft.com/office/powerpoint/2010/main" val="2146661275"/>
              </p:ext>
            </p:extLst>
          </p:nvPr>
        </p:nvGraphicFramePr>
        <p:xfrm>
          <a:off x="217866" y="948355"/>
          <a:ext cx="11781070" cy="5568971"/>
        </p:xfrm>
        <a:graphic>
          <a:graphicData uri="http://schemas.openxmlformats.org/drawingml/2006/table">
            <a:tbl>
              <a:tblPr firstRow="1" bandRow="1">
                <a:tableStyleId>{5C22544A-7EE6-4342-B048-85BDC9FD1C3A}</a:tableStyleId>
              </a:tblPr>
              <a:tblGrid>
                <a:gridCol w="1471790">
                  <a:extLst>
                    <a:ext uri="{9D8B030D-6E8A-4147-A177-3AD203B41FA5}">
                      <a16:colId xmlns:a16="http://schemas.microsoft.com/office/drawing/2014/main" val="2293377750"/>
                    </a:ext>
                  </a:extLst>
                </a:gridCol>
                <a:gridCol w="2968924">
                  <a:extLst>
                    <a:ext uri="{9D8B030D-6E8A-4147-A177-3AD203B41FA5}">
                      <a16:colId xmlns:a16="http://schemas.microsoft.com/office/drawing/2014/main" val="1369067374"/>
                    </a:ext>
                  </a:extLst>
                </a:gridCol>
                <a:gridCol w="3377325">
                  <a:extLst>
                    <a:ext uri="{9D8B030D-6E8A-4147-A177-3AD203B41FA5}">
                      <a16:colId xmlns:a16="http://schemas.microsoft.com/office/drawing/2014/main" val="1527595796"/>
                    </a:ext>
                  </a:extLst>
                </a:gridCol>
                <a:gridCol w="3963031">
                  <a:extLst>
                    <a:ext uri="{9D8B030D-6E8A-4147-A177-3AD203B41FA5}">
                      <a16:colId xmlns:a16="http://schemas.microsoft.com/office/drawing/2014/main" val="742367323"/>
                    </a:ext>
                  </a:extLst>
                </a:gridCol>
              </a:tblGrid>
              <a:tr h="295931">
                <a:tc>
                  <a:txBody>
                    <a:bodyPr/>
                    <a:lstStyle/>
                    <a:p>
                      <a:pPr algn="ctr"/>
                      <a:r>
                        <a:rPr lang="en-US" sz="1050" err="1">
                          <a:solidFill>
                            <a:schemeClr val="bg1">
                              <a:lumMod val="95000"/>
                            </a:schemeClr>
                          </a:solidFill>
                        </a:rPr>
                        <a:t>Desc</a:t>
                      </a:r>
                      <a:endParaRPr lang="en-US" sz="1050">
                        <a:solidFill>
                          <a:schemeClr val="bg1">
                            <a:lumMod val="95000"/>
                          </a:schemeClr>
                        </a:solidFill>
                      </a:endParaRPr>
                    </a:p>
                  </a:txBody>
                  <a:tcPr marL="121920" marR="121920" marT="60960" marB="60960" anchor="ctr"/>
                </a:tc>
                <a:tc>
                  <a:txBody>
                    <a:bodyPr/>
                    <a:lstStyle/>
                    <a:p>
                      <a:pPr algn="ctr"/>
                      <a:r>
                        <a:rPr lang="en-US" sz="1050">
                          <a:solidFill>
                            <a:schemeClr val="bg1">
                              <a:lumMod val="95000"/>
                            </a:schemeClr>
                          </a:solidFill>
                        </a:rPr>
                        <a:t>Before</a:t>
                      </a:r>
                    </a:p>
                  </a:txBody>
                  <a:tcPr marL="121920" marR="121920" marT="60960" marB="60960" anchor="ctr"/>
                </a:tc>
                <a:tc>
                  <a:txBody>
                    <a:bodyPr/>
                    <a:lstStyle/>
                    <a:p>
                      <a:pPr algn="ctr"/>
                      <a:r>
                        <a:rPr lang="en-US" sz="1050">
                          <a:solidFill>
                            <a:schemeClr val="bg1">
                              <a:lumMod val="95000"/>
                            </a:schemeClr>
                          </a:solidFill>
                        </a:rPr>
                        <a:t>After</a:t>
                      </a:r>
                    </a:p>
                  </a:txBody>
                  <a:tcPr marL="121920" marR="121920" marT="60960" marB="60960" anchor="ctr"/>
                </a:tc>
                <a:tc>
                  <a:txBody>
                    <a:bodyPr/>
                    <a:lstStyle/>
                    <a:p>
                      <a:pPr algn="ctr"/>
                      <a:r>
                        <a:rPr lang="en-US" sz="1050">
                          <a:solidFill>
                            <a:schemeClr val="bg1">
                              <a:lumMod val="95000"/>
                            </a:schemeClr>
                          </a:solidFill>
                        </a:rPr>
                        <a:t>Notes</a:t>
                      </a:r>
                    </a:p>
                  </a:txBody>
                  <a:tcPr marL="121920" marR="121920" marT="60960" marB="60960" anchor="ctr"/>
                </a:tc>
                <a:extLst>
                  <a:ext uri="{0D108BD9-81ED-4DB2-BD59-A6C34878D82A}">
                    <a16:rowId xmlns:a16="http://schemas.microsoft.com/office/drawing/2014/main" val="1483081101"/>
                  </a:ext>
                </a:extLst>
              </a:tr>
              <a:tr h="2840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3 Part and 2 Part Name</a:t>
                      </a:r>
                    </a:p>
                  </a:txBody>
                  <a:tcPr marL="121920" marR="121920" marT="60960" marB="60960" anchor="ctr"/>
                </a:tc>
                <a:tc>
                  <a:txBody>
                    <a:bodyPr/>
                    <a:lstStyle/>
                    <a:p>
                      <a:pPr marL="0" algn="l" defTabSz="914367" rtl="0" eaLnBrk="1" latinLnBrk="0" hangingPunct="1"/>
                      <a:r>
                        <a:rPr lang="en-US" sz="1000" kern="1200">
                          <a:solidFill>
                            <a:schemeClr val="dk1"/>
                          </a:solidFill>
                          <a:latin typeface="+mn-lt"/>
                          <a:ea typeface="+mn-ea"/>
                          <a:cs typeface="+mn-cs"/>
                        </a:rPr>
                        <a:t>[CS_STAGE].[CSS].Table</a:t>
                      </a:r>
                    </a:p>
                    <a:p>
                      <a:pPr marL="0" algn="l" defTabSz="914367" rtl="0" eaLnBrk="1" latinLnBrk="0" hangingPunct="1"/>
                      <a:r>
                        <a:rPr lang="en-US" sz="1000" kern="1200">
                          <a:solidFill>
                            <a:schemeClr val="dk1"/>
                          </a:solidFill>
                          <a:latin typeface="+mn-lt"/>
                          <a:ea typeface="+mn-ea"/>
                          <a:cs typeface="+mn-cs"/>
                        </a:rPr>
                        <a:t>Or</a:t>
                      </a:r>
                    </a:p>
                    <a:p>
                      <a:pPr marL="0" algn="l" defTabSz="914367" rtl="0" eaLnBrk="1" latinLnBrk="0" hangingPunct="1"/>
                      <a:r>
                        <a:rPr lang="en-US" sz="1000" kern="1200" err="1">
                          <a:solidFill>
                            <a:schemeClr val="dk1"/>
                          </a:solidFill>
                          <a:latin typeface="+mn-lt"/>
                          <a:ea typeface="+mn-ea"/>
                          <a:cs typeface="+mn-cs"/>
                        </a:rPr>
                        <a:t>CSS.Table</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CSS_ST.Table</a:t>
                      </a:r>
                    </a:p>
                  </a:txBody>
                  <a:tcPr marL="121920" marR="121920" marT="60960" marB="60960" anchor="ctr"/>
                </a:tc>
                <a:tc>
                  <a:txBody>
                    <a:bodyPr/>
                    <a:lstStyle/>
                    <a:p>
                      <a:r>
                        <a:rPr lang="en-US" sz="1000"/>
                        <a:t>All 3 part and 2 part naming conventions need to be converted to only contain the schema name.  The DB Name has to be removed.</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a:t>System tables containing DB Name</a:t>
                      </a: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CS_STAGE.sys.tables</a:t>
                      </a:r>
                      <a:endParaRPr lang="en-US" sz="1000" kern="1200">
                        <a:solidFill>
                          <a:schemeClr val="dk1"/>
                        </a:solidFill>
                        <a:latin typeface="+mn-lt"/>
                        <a:ea typeface="+mn-ea"/>
                        <a:cs typeface="+mn-cs"/>
                      </a:endParaRP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sys.tables</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All system tables referenced in a SP will need to have the DB Name removed in SQLDW.</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1000"/>
                        <a:t>System Table Queries</a:t>
                      </a:r>
                    </a:p>
                  </a:txBody>
                  <a:tcPr marL="121920" marR="121920" marT="60960" marB="60960" anchor="ctr"/>
                </a:tc>
                <a:tc>
                  <a:txBody>
                    <a:bodyPr/>
                    <a:lstStyle/>
                    <a:p>
                      <a:r>
                        <a:rPr lang="en-US" sz="1000"/>
                        <a:t>IF EXISTS (SELECT 1 FROM [</a:t>
                      </a:r>
                      <a:r>
                        <a:rPr lang="en-US" sz="1000" err="1"/>
                        <a:t>DBName</a:t>
                      </a:r>
                      <a:r>
                        <a:rPr lang="en-US" sz="1000"/>
                        <a:t>].SYS.OBJECTS WHERE TYPE = 'U' AND NAME = ‘</a:t>
                      </a:r>
                      <a:r>
                        <a:rPr lang="en-US" sz="1000" err="1"/>
                        <a:t>Table_Name</a:t>
                      </a:r>
                      <a:r>
                        <a:rPr lang="en-US" sz="1000"/>
                        <a:t>')</a:t>
                      </a:r>
                    </a:p>
                  </a:txBody>
                  <a:tcPr marL="121920" marR="121920" marT="60960" marB="60960" anchor="ctr"/>
                </a:tc>
                <a:tc>
                  <a:txBody>
                    <a:bodyPr/>
                    <a:lstStyle/>
                    <a:p>
                      <a:r>
                        <a:rPr lang="en-US" sz="1000"/>
                        <a:t>IF EXISTS (SELECT 1 FROM </a:t>
                      </a:r>
                      <a:r>
                        <a:rPr lang="en-US" sz="1000" err="1"/>
                        <a:t>sys.schemas</a:t>
                      </a:r>
                      <a:r>
                        <a:rPr lang="en-US" sz="1000"/>
                        <a:t> s JOIN </a:t>
                      </a:r>
                      <a:r>
                        <a:rPr lang="en-US" sz="1000" err="1"/>
                        <a:t>sys.tables</a:t>
                      </a:r>
                      <a:r>
                        <a:rPr lang="en-US" sz="1000"/>
                        <a:t> t ON </a:t>
                      </a:r>
                      <a:r>
                        <a:rPr lang="en-US" sz="1000" err="1"/>
                        <a:t>s.schema_id</a:t>
                      </a:r>
                      <a:r>
                        <a:rPr lang="en-US" sz="1000"/>
                        <a:t> = </a:t>
                      </a:r>
                      <a:r>
                        <a:rPr lang="en-US" sz="1000" err="1"/>
                        <a:t>t.schema_id</a:t>
                      </a:r>
                      <a:r>
                        <a:rPr lang="en-US" sz="1000"/>
                        <a:t>  WHERE s.name = ‘</a:t>
                      </a:r>
                      <a:r>
                        <a:rPr lang="en-US" sz="1000" err="1"/>
                        <a:t>Schema_Name</a:t>
                      </a:r>
                      <a:r>
                        <a:rPr lang="en-US" sz="1000"/>
                        <a:t>' AND t.name = ‘</a:t>
                      </a:r>
                      <a:r>
                        <a:rPr lang="en-US" sz="1000" err="1"/>
                        <a:t>Table_Name</a:t>
                      </a:r>
                      <a:r>
                        <a:rPr lang="en-US" sz="1000"/>
                        <a:t>’)</a:t>
                      </a:r>
                    </a:p>
                    <a:p>
                      <a:r>
                        <a:rPr lang="en-US" sz="1000"/>
                        <a:t>Or</a:t>
                      </a:r>
                    </a:p>
                    <a:p>
                      <a:r>
                        <a:rPr lang="en-US" sz="1000"/>
                        <a:t>IF EXISTS (SELECT 1 FROM </a:t>
                      </a:r>
                      <a:r>
                        <a:rPr lang="en-US" sz="1000" err="1"/>
                        <a:t>sys.tables</a:t>
                      </a:r>
                      <a:r>
                        <a:rPr lang="en-US" sz="1000"/>
                        <a:t> t WHERE </a:t>
                      </a:r>
                      <a:r>
                        <a:rPr lang="en-US" sz="1000" err="1"/>
                        <a:t>schema_name</a:t>
                      </a:r>
                      <a:r>
                        <a:rPr lang="en-US" sz="1000"/>
                        <a:t>(</a:t>
                      </a:r>
                      <a:r>
                        <a:rPr lang="en-US" sz="1000" err="1"/>
                        <a:t>Schema_id</a:t>
                      </a:r>
                      <a:r>
                        <a:rPr lang="en-US" sz="1000"/>
                        <a:t>) = ‘</a:t>
                      </a:r>
                      <a:r>
                        <a:rPr lang="en-US" sz="1000" err="1"/>
                        <a:t>Schema_Name</a:t>
                      </a:r>
                      <a:r>
                        <a:rPr lang="en-US" sz="1000"/>
                        <a:t>' AND t.name = ‘</a:t>
                      </a:r>
                      <a:r>
                        <a:rPr lang="en-US" sz="1000" err="1"/>
                        <a:t>Table_Name</a:t>
                      </a:r>
                      <a:r>
                        <a:rPr lang="en-US" sz="1000"/>
                        <a:t>’)</a:t>
                      </a:r>
                    </a:p>
                    <a:p>
                      <a:r>
                        <a:rPr lang="en-US" sz="1000"/>
                        <a:t>Or</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IF OBJECT_ID(‘</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U') IS NOT NULL</a:t>
                      </a:r>
                      <a:br>
                        <a:rPr lang="en-US" sz="1000" kern="1200">
                          <a:solidFill>
                            <a:schemeClr val="dk1"/>
                          </a:solidFill>
                          <a:latin typeface="+mn-lt"/>
                          <a:ea typeface="+mn-ea"/>
                          <a:cs typeface="+mn-cs"/>
                        </a:rPr>
                      </a:br>
                      <a:r>
                        <a:rPr lang="en-US" sz="1000" kern="1200">
                          <a:solidFill>
                            <a:schemeClr val="dk1"/>
                          </a:solidFill>
                          <a:latin typeface="+mn-lt"/>
                          <a:ea typeface="+mn-ea"/>
                          <a:cs typeface="+mn-cs"/>
                        </a:rPr>
                        <a:t>DROP TABLE </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a:t>
                      </a:r>
                      <a:endParaRPr lang="en-US" sz="1000"/>
                    </a:p>
                  </a:txBody>
                  <a:tcPr marL="121920" marR="121920" marT="60960" marB="60960" anchor="ctr"/>
                </a:tc>
                <a:tc>
                  <a:txBody>
                    <a:bodyPr/>
                    <a:lstStyle/>
                    <a:p>
                      <a:r>
                        <a:rPr lang="en-US" sz="1000"/>
                        <a:t>Anytime a system table is referenced and contains a filter to a </a:t>
                      </a:r>
                      <a:r>
                        <a:rPr lang="en-US" sz="1000" err="1"/>
                        <a:t>TableName</a:t>
                      </a:r>
                      <a:r>
                        <a:rPr lang="en-US" sz="1000"/>
                        <a:t>, the </a:t>
                      </a:r>
                      <a:r>
                        <a:rPr lang="en-US" sz="1000" err="1"/>
                        <a:t>SchemaName</a:t>
                      </a:r>
                      <a:r>
                        <a:rPr lang="en-US" sz="1000"/>
                        <a:t> should also be included in the query.</a:t>
                      </a:r>
                    </a:p>
                  </a:txBody>
                  <a:tcPr marL="121920" marR="121920" marT="60960" marB="60960" anchor="ctr"/>
                </a:tc>
                <a:extLst>
                  <a:ext uri="{0D108BD9-81ED-4DB2-BD59-A6C34878D82A}">
                    <a16:rowId xmlns:a16="http://schemas.microsoft.com/office/drawing/2014/main" val="3728327054"/>
                  </a:ext>
                </a:extLst>
              </a:tr>
              <a:tr h="301011">
                <a:tc>
                  <a:txBody>
                    <a:bodyPr/>
                    <a:lstStyle/>
                    <a:p>
                      <a:r>
                        <a:rPr lang="en-US" sz="1000" dirty="0"/>
                        <a:t>Heap Tables </a:t>
                      </a:r>
                    </a:p>
                    <a:p>
                      <a:r>
                        <a:rPr lang="en-US" sz="1000" dirty="0"/>
                        <a:t>(Case by Case) </a:t>
                      </a:r>
                    </a:p>
                  </a:txBody>
                  <a:tcPr marL="121920" marR="121920" marT="60960" marB="60960" anchor="ctr"/>
                </a:tc>
                <a:tc>
                  <a:txBody>
                    <a:bodyPr/>
                    <a:lstStyle/>
                    <a:p>
                      <a:r>
                        <a:rPr lang="en-US" sz="1000"/>
                        <a:t>Create Table</a:t>
                      </a:r>
                    </a:p>
                    <a:p>
                      <a:r>
                        <a:rPr lang="en-US" sz="1000"/>
                        <a:t>With (Distribution = REPLICATE, Location = USER_DB)</a:t>
                      </a:r>
                    </a:p>
                  </a:txBody>
                  <a:tcPr marL="121920" marR="121920" marT="60960" marB="60960" anchor="ctr"/>
                </a:tc>
                <a:tc>
                  <a:txBody>
                    <a:bodyPr/>
                    <a:lstStyle/>
                    <a:p>
                      <a:r>
                        <a:rPr lang="en-US" sz="1000" dirty="0"/>
                        <a:t>Create Table</a:t>
                      </a:r>
                    </a:p>
                    <a:p>
                      <a:r>
                        <a:rPr lang="en-US" sz="1000" dirty="0"/>
                        <a:t>With (Distribution = REPLICATE, HEAP)</a:t>
                      </a:r>
                    </a:p>
                  </a:txBody>
                  <a:tcPr marL="121920" marR="121920" marT="60960" marB="60960" anchor="ctr"/>
                </a:tc>
                <a:tc>
                  <a:txBody>
                    <a:bodyPr/>
                    <a:lstStyle/>
                    <a:p>
                      <a:r>
                        <a:rPr lang="en-US" sz="1000"/>
                        <a:t>If not explicitly specified, SQLDW creates Clustered Columnstore Index (CCI) automatically. If CCI is not desirable, perform this change. </a:t>
                      </a:r>
                    </a:p>
                  </a:txBody>
                  <a:tcPr marL="121920" marR="121920" marT="60960" marB="60960" anchor="ctr"/>
                </a:tc>
                <a:extLst>
                  <a:ext uri="{0D108BD9-81ED-4DB2-BD59-A6C34878D82A}">
                    <a16:rowId xmlns:a16="http://schemas.microsoft.com/office/drawing/2014/main" val="1942812366"/>
                  </a:ext>
                </a:extLst>
              </a:tr>
              <a:tr h="301011">
                <a:tc>
                  <a:txBody>
                    <a:bodyPr/>
                    <a:lstStyle/>
                    <a:p>
                      <a:r>
                        <a:rPr lang="en-US" sz="1000">
                          <a:solidFill>
                            <a:schemeClr val="tx1"/>
                          </a:solidFill>
                        </a:rPr>
                        <a:t>Temporary Tables</a:t>
                      </a:r>
                    </a:p>
                  </a:txBody>
                  <a:tcPr marL="121920" marR="121920" marT="60960" marB="60960" anchor="ctr"/>
                </a:tc>
                <a:tc>
                  <a:txBody>
                    <a:bodyPr/>
                    <a:lstStyle/>
                    <a:p>
                      <a:r>
                        <a:rPr lang="en-US" sz="1000" dirty="0"/>
                        <a:t>Create Table #Temp </a:t>
                      </a:r>
                    </a:p>
                    <a:p>
                      <a:r>
                        <a:rPr lang="en-US" sz="1000" dirty="0"/>
                        <a:t>with(Distribution = REPLICATE, </a:t>
                      </a:r>
                      <a:r>
                        <a:rPr lang="en-US" sz="1000" b="1" dirty="0"/>
                        <a:t>Location = USER_DB</a:t>
                      </a:r>
                      <a:r>
                        <a:rPr lang="en-US" sz="1000" dirty="0"/>
                        <a:t>)</a:t>
                      </a:r>
                    </a:p>
                  </a:txBody>
                  <a:tcPr marL="121920" marR="121920" marT="60960" marB="60960" anchor="ctr"/>
                </a:tc>
                <a:tc>
                  <a:txBody>
                    <a:bodyPr/>
                    <a:lstStyle/>
                    <a:p>
                      <a:r>
                        <a:rPr lang="en-US" sz="1000" dirty="0"/>
                        <a:t>Create Table #temp</a:t>
                      </a:r>
                    </a:p>
                    <a:p>
                      <a:r>
                        <a:rPr lang="en-US" sz="1000" dirty="0"/>
                        <a:t>With(Distribution = ROUND_ROBIN)</a:t>
                      </a:r>
                    </a:p>
                  </a:txBody>
                  <a:tcPr marL="121920" marR="121920" marT="60960" marB="60960" anchor="ctr"/>
                </a:tc>
                <a:tc>
                  <a:txBody>
                    <a:bodyPr/>
                    <a:lstStyle/>
                    <a:p>
                      <a:r>
                        <a:rPr lang="en-US" sz="1000"/>
                        <a:t>Temporary table are not allowed to be created with a replicated  distribution.  All temporary table need to be changed to permanent tables or the distribution needs to be changed to round_robin</a:t>
                      </a:r>
                    </a:p>
                    <a:p>
                      <a:r>
                        <a:rPr lang="en-US" sz="1000"/>
                        <a:t>Remove Location = User_DB as this is no longer needed.</a:t>
                      </a:r>
                      <a:endParaRPr lang="en-US" sz="1000" dirty="0"/>
                    </a:p>
                  </a:txBody>
                  <a:tcPr marL="121920" marR="121920" marT="60960" marB="60960" anchor="ctr"/>
                </a:tc>
                <a:extLst>
                  <a:ext uri="{0D108BD9-81ED-4DB2-BD59-A6C34878D82A}">
                    <a16:rowId xmlns:a16="http://schemas.microsoft.com/office/drawing/2014/main" val="1208885550"/>
                  </a:ext>
                </a:extLst>
              </a:tr>
              <a:tr h="288269">
                <a:tc>
                  <a:txBody>
                    <a:bodyPr/>
                    <a:lstStyle/>
                    <a:p>
                      <a:r>
                        <a:rPr lang="en-US" sz="1000"/>
                        <a:t>With Clause with out an Index</a:t>
                      </a:r>
                    </a:p>
                  </a:txBody>
                  <a:tcPr marL="121920" marR="121920" marT="60960" marB="60960" anchor="ctr"/>
                </a:tc>
                <a:tc>
                  <a:txBody>
                    <a:bodyPr/>
                    <a:lstStyle/>
                    <a:p>
                      <a:r>
                        <a:rPr lang="en-US" sz="1000"/>
                        <a:t>With (Distribution = Hash(</a:t>
                      </a:r>
                      <a:r>
                        <a:rPr lang="en-US" sz="1000" err="1"/>
                        <a:t>column_name</a:t>
                      </a:r>
                      <a:r>
                        <a:rPr lang="en-US" sz="1000"/>
                        <a:t>))</a:t>
                      </a:r>
                    </a:p>
                    <a:p>
                      <a:r>
                        <a:rPr lang="en-US" sz="1000"/>
                        <a:t>Or</a:t>
                      </a:r>
                    </a:p>
                    <a:p>
                      <a:r>
                        <a:rPr lang="en-US" sz="1000"/>
                        <a:t>With (Distribution = </a:t>
                      </a:r>
                      <a:r>
                        <a:rPr lang="en-US" sz="1000" err="1"/>
                        <a:t>Round_Robin</a:t>
                      </a:r>
                      <a:r>
                        <a:rPr lang="en-US" sz="1000"/>
                        <a:t>)</a:t>
                      </a:r>
                    </a:p>
                  </a:txBody>
                  <a:tcPr marL="121920" marR="121920" marT="60960" marB="60960" anchor="ctr"/>
                </a:tc>
                <a:tc>
                  <a:txBody>
                    <a:bodyPr/>
                    <a:lstStyle/>
                    <a:p>
                      <a:r>
                        <a:rPr lang="en-US" sz="1000"/>
                        <a:t>With (Distribution = Hash(column_name), HEAP)</a:t>
                      </a:r>
                    </a:p>
                    <a:p>
                      <a:r>
                        <a:rPr lang="en-US" sz="1000"/>
                        <a:t>Or</a:t>
                      </a:r>
                    </a:p>
                    <a:p>
                      <a:r>
                        <a:rPr lang="en-US" sz="1000"/>
                        <a:t>With (Distribution = Round_Robin, HEAP)</a:t>
                      </a:r>
                    </a:p>
                  </a:txBody>
                  <a:tcPr marL="121920" marR="121920" marT="60960" marB="60960" anchor="ctr"/>
                </a:tc>
                <a:tc>
                  <a:txBody>
                    <a:bodyPr/>
                    <a:lstStyle/>
                    <a:p>
                      <a:r>
                        <a:rPr lang="en-US" sz="1000"/>
                        <a:t>Tables created without an index in the with clause on APS need to be converted to explicitly state the index should be a </a:t>
                      </a:r>
                      <a:r>
                        <a:rPr lang="en-US" sz="1000" kern="1200">
                          <a:solidFill>
                            <a:schemeClr val="dk1"/>
                          </a:solidFill>
                          <a:latin typeface="+mn-lt"/>
                          <a:ea typeface="+mn-ea"/>
                          <a:cs typeface="+mn-cs"/>
                        </a:rPr>
                        <a:t>HEAP.</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1000"/>
                        <a:t>UTC and GetDate()</a:t>
                      </a:r>
                    </a:p>
                  </a:txBody>
                  <a:tcPr marL="121920" marR="121920" marT="60960" marB="60960" anchor="ctr"/>
                </a:tc>
                <a:tc>
                  <a:txBody>
                    <a:bodyPr/>
                    <a:lstStyle/>
                    <a:p>
                      <a:endParaRPr lang="en-US" sz="1000"/>
                    </a:p>
                  </a:txBody>
                  <a:tcPr marL="121920" marR="121920" marT="60960" marB="60960" anchor="ctr"/>
                </a:tc>
                <a:tc>
                  <a:txBody>
                    <a:bodyPr/>
                    <a:lstStyle/>
                    <a:p>
                      <a:endParaRPr lang="en-US" sz="1000"/>
                    </a:p>
                  </a:txBody>
                  <a:tcPr marL="121920" marR="121920" marT="60960" marB="60960" anchor="ctr"/>
                </a:tc>
                <a:tc>
                  <a:txBody>
                    <a:bodyPr/>
                    <a:lstStyle/>
                    <a:p>
                      <a:r>
                        <a:rPr lang="en-US" sz="1000" dirty="0"/>
                        <a:t>See Slide on UTC date conversion.</a:t>
                      </a:r>
                    </a:p>
                    <a:p>
                      <a:endParaRPr lang="en-US" sz="1000" dirty="0"/>
                    </a:p>
                  </a:txBody>
                  <a:tcPr marL="121920" marR="121920" marT="60960" marB="60960" anchor="ctr"/>
                </a:tc>
                <a:extLst>
                  <a:ext uri="{0D108BD9-81ED-4DB2-BD59-A6C34878D82A}">
                    <a16:rowId xmlns:a16="http://schemas.microsoft.com/office/drawing/2014/main" val="3224749900"/>
                  </a:ext>
                </a:extLst>
              </a:tr>
            </a:tbl>
          </a:graphicData>
        </a:graphic>
      </p:graphicFrame>
      <p:grpSp>
        <p:nvGrpSpPr>
          <p:cNvPr id="4" name="Group 3">
            <a:extLst>
              <a:ext uri="{FF2B5EF4-FFF2-40B4-BE49-F238E27FC236}">
                <a16:creationId xmlns:a16="http://schemas.microsoft.com/office/drawing/2014/main" id="{BE9261EF-E9ED-42FA-91F6-89B7B6EE61F6}"/>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927A8D73-757B-4B0D-9DE7-A8384CF7A2E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A29962DB-08C7-41B3-8124-12CD0774BB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BC0D775C-27B3-4B0C-B0EF-1D15271C4E3D}"/>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1027AC36-0F80-4B22-ADAB-61A48D05A837}"/>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4B0A51F9-87E3-4CE5-A666-41ADC1DEDD6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31BEC755-203C-4E5C-815F-B318F37CCD49}"/>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D33152F3-D3BA-4CF9-A7EF-F4F1FAED9F5B}"/>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0385D45B-37C5-403E-9207-4BD19F243767}"/>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5F7ADD00-A43E-47E1-A36F-14BFF949E60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64DB2CC8-A256-42D5-9056-87F7353F6E3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969B0C5D-E159-44C0-BFA8-153BBE04950C}"/>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FD5052BA-AF1C-4C3D-AB25-8AA9AE99573D}"/>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EB1B99F-9393-45F3-A174-4D0887338D9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15FB26ED-6451-4612-9B03-0798A1FF88C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3DC4D8EE-6663-4613-9E3E-59273FF24E94}"/>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24AB3A00-73F7-4B50-A2BE-7C4694DB1A45}"/>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3412265B-91A0-44AB-9B04-6990E35BCF92}"/>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857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Change for Temp Tables</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Example SP in </a:t>
            </a:r>
            <a:r>
              <a:rPr kumimoji="0" lang="en-US" sz="18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AdventureWorks</a:t>
            </a: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DB after chang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MP_Customer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Replicate</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Location = </a:t>
            </a:r>
            <a:r>
              <a:rPr kumimoji="0" lang="en-US" sz="1800" b="0" i="0" u="none" strike="sngStrike" kern="1200" cap="none" spc="0" normalizeH="0" baseline="0" noProof="0" dirty="0" err="1">
                <a:ln>
                  <a:noFill/>
                </a:ln>
                <a:solidFill>
                  <a:srgbClr val="0000FF"/>
                </a:solidFill>
                <a:effectLst/>
                <a:uLnTx/>
                <a:uFillTx/>
                <a:latin typeface="Consolas" panose="020B0609020204030204" pitchFamily="49" charset="0"/>
                <a:ea typeface="+mn-ea"/>
                <a:cs typeface="+mn-cs"/>
              </a:rPr>
              <a:t>User_DB</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0000"/>
                </a:solidFill>
                <a:effectLst/>
                <a:uLnTx/>
                <a:uFillTx/>
                <a:latin typeface="Consolas" panose="020B0609020204030204" pitchFamily="49" charset="0"/>
                <a:ea typeface="+mn-ea"/>
                <a:cs typeface="+mn-cs"/>
              </a:rPr>
              <a:t>Round_Robin</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 HEAP</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280722"/>
            <a:ext cx="3921340"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emporary table are not allowed to be created with a replicated  distribution. Temporary table can be changed to permanent tables or the distribution needs to be changed to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round_robin</a:t>
            </a:r>
            <a:r>
              <a:rPr kumimoji="0" lang="en-US" sz="18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Location = USER_DB – Remove as its no longer needed for Temp Tables in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Note: Heap is added as the default index on Azure DW is CCI and not HE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se changes needed to be done manual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926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Change </a:t>
            </a:r>
            <a:r>
              <a:rPr lang="en-US" sz="4000">
                <a:solidFill>
                  <a:srgbClr val="FFFFFF"/>
                </a:solidFill>
                <a:latin typeface="Segoe UI Light" panose="020B0502040204020203" pitchFamily="34" charset="0"/>
                <a:cs typeface="Segoe UI Light" panose="020B0502040204020203" pitchFamily="34" charset="0"/>
              </a:rPr>
              <a:t>– Partition with Date Field</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0" name="TextBox 49">
            <a:extLst>
              <a:ext uri="{FF2B5EF4-FFF2-40B4-BE49-F238E27FC236}">
                <a16:creationId xmlns:a16="http://schemas.microsoft.com/office/drawing/2014/main" id="{6589E816-AA9C-492A-91F0-E02D5AF342DF}"/>
              </a:ext>
            </a:extLst>
          </p:cNvPr>
          <p:cNvSpPr txBox="1"/>
          <p:nvPr/>
        </p:nvSpPr>
        <p:spPr>
          <a:xfrm>
            <a:off x="288099" y="3406247"/>
            <a:ext cx="11354841" cy="2585323"/>
          </a:xfrm>
          <a:prstGeom prst="rect">
            <a:avLst/>
          </a:prstGeom>
          <a:noFill/>
          <a:ln w="15875">
            <a:noFill/>
          </a:ln>
        </p:spPr>
        <p:txBody>
          <a:bodyPr wrap="square" rtlCol="0">
            <a:spAutoFit/>
          </a:bodyPr>
          <a:lstStyle/>
          <a:p>
            <a:r>
              <a:rPr lang="en-US">
                <a:solidFill>
                  <a:srgbClr val="008000"/>
                </a:solidFill>
                <a:latin typeface="Consolas" panose="020B0609020204030204" pitchFamily="49" charset="0"/>
              </a:rPr>
              <a:t>-- APS Table</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CS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Billing]</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ARTITION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a:t>
            </a:r>
            <a:r>
              <a:rPr lang="en-US" err="1">
                <a:solidFill>
                  <a:srgbClr val="000000"/>
                </a:solidFill>
                <a:latin typeface="Consolas" panose="020B0609020204030204" pitchFamily="49" charset="0"/>
              </a:rPr>
              <a:t>Billing_D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RANG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RIGHT</a:t>
            </a:r>
            <a:r>
              <a:rPr lang="en-US">
                <a:solidFill>
                  <a:srgbClr val="000000"/>
                </a:solidFill>
                <a:latin typeface="Consolas" panose="020B0609020204030204" pitchFamily="49" charset="0"/>
              </a:rPr>
              <a:t> </a:t>
            </a:r>
          </a:p>
          <a:p>
            <a:r>
              <a:rPr lang="en-US" strike="sngStrike">
                <a:solidFill>
                  <a:srgbClr val="0000FF"/>
                </a:solidFill>
                <a:latin typeface="Consolas" panose="020B0609020204030204" pitchFamily="49" charset="0"/>
              </a:rPr>
              <a:t>FOR</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VALUES </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01/02/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3/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4/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5/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6/2018 12:00:00 AM’</a:t>
            </a:r>
            <a:r>
              <a:rPr lang="en-US" strike="sngStrike">
                <a:solidFill>
                  <a:srgbClr val="808080"/>
                </a:solidFill>
                <a:latin typeface="Consolas" panose="020B0609020204030204" pitchFamily="49" charset="0"/>
              </a:rPr>
              <a:t>)</a:t>
            </a:r>
          </a:p>
          <a:p>
            <a:r>
              <a:rPr lang="en-US">
                <a:solidFill>
                  <a:srgbClr val="0000FF"/>
                </a:solidFill>
                <a:highlight>
                  <a:srgbClr val="FFFF00"/>
                </a:highlight>
                <a:latin typeface="Consolas" panose="020B0609020204030204" pitchFamily="49" charset="0"/>
              </a:rPr>
              <a:t>FOR</a:t>
            </a:r>
            <a:r>
              <a:rPr lang="en-US">
                <a:solidFill>
                  <a:srgbClr val="000000"/>
                </a:solidFill>
                <a:highlight>
                  <a:srgbClr val="FFFF00"/>
                </a:highlight>
                <a:latin typeface="Consolas" panose="020B0609020204030204" pitchFamily="49" charset="0"/>
              </a:rPr>
              <a:t> </a:t>
            </a:r>
            <a:r>
              <a:rPr lang="en-US">
                <a:solidFill>
                  <a:srgbClr val="0000FF"/>
                </a:solidFill>
                <a:highlight>
                  <a:srgbClr val="FFFF00"/>
                </a:highlight>
                <a:latin typeface="Consolas" panose="020B0609020204030204" pitchFamily="49" charset="0"/>
              </a:rPr>
              <a:t>VALUES </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Feb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Ap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y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Jun  1 2018’</a:t>
            </a:r>
            <a:r>
              <a:rPr lang="en-US">
                <a:solidFill>
                  <a:srgbClr val="808080"/>
                </a:solidFill>
                <a:highlight>
                  <a:srgbClr val="FFFF00"/>
                </a:highlight>
                <a:latin typeface="Consolas" panose="020B0609020204030204" pitchFamily="49" charset="0"/>
              </a:rPr>
              <a:t>)</a:t>
            </a:r>
            <a:endParaRPr lang="en-US">
              <a:solidFill>
                <a:srgbClr val="000000"/>
              </a:solidFill>
              <a:highlight>
                <a:srgbClr val="FFFF00"/>
              </a:highlight>
              <a:latin typeface="Consolas" panose="020B0609020204030204" pitchFamily="49" charset="0"/>
            </a:endParaRP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grpSp>
        <p:nvGrpSpPr>
          <p:cNvPr id="5" name="Group 4">
            <a:extLst>
              <a:ext uri="{FF2B5EF4-FFF2-40B4-BE49-F238E27FC236}">
                <a16:creationId xmlns:a16="http://schemas.microsoft.com/office/drawing/2014/main" id="{6DA2D977-C2BC-4277-9E67-3A4E56717783}"/>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66C8FBF4-BA09-48C8-BDC7-5041DE586D8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CBE4473D-A0B7-48CC-8D8C-0A6EF7C02392}"/>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D1CDAA59-5696-4629-A777-3B2BA6D2739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752A077-F3CB-4E20-9A83-595E9F0A51D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DB24EB64-5EBB-433C-9205-B63CBAB7D9A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0307DE6-9895-4740-85BB-4638D033D6F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6E0FE30F-327D-4FF8-A2EE-874A100CCA6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81FBD3EF-31E5-4755-9C18-6AC6CF4AE758}"/>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13D7A80F-FDA7-46FF-A27A-0A4AB20258EC}"/>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ED449E7-9348-462C-95F8-BBF24F9CC09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875AD3B-9E26-4CC1-B601-812B6DB869E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DCA06D40-70AF-44BD-8B7E-5A1D8EEC9DE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7016066-B1D9-44EB-9148-08AC08EF67B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0F04D093-112A-4560-BF7E-08F0246AB4E4}"/>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D2F0F7A-D87F-4929-95C8-2487D6F33B9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6305B570-74A8-44BE-8E24-04275B15202B}"/>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DBFDCB5E-7DDB-4CC8-9705-05A35FBFB65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76274049-9D3C-4824-8CE5-075A87ED96BB}"/>
              </a:ext>
            </a:extLst>
          </p:cNvPr>
          <p:cNvSpPr txBox="1"/>
          <p:nvPr/>
        </p:nvSpPr>
        <p:spPr>
          <a:xfrm>
            <a:off x="288099" y="1072431"/>
            <a:ext cx="11690125" cy="2031325"/>
          </a:xfrm>
          <a:prstGeom prst="rect">
            <a:avLst/>
          </a:prstGeom>
          <a:noFill/>
        </p:spPr>
        <p:txBody>
          <a:bodyPr wrap="square" rtlCol="0">
            <a:spAutoFit/>
          </a:bodyPr>
          <a:lstStyle>
            <a:defPPr>
              <a:defRPr lang="en-US"/>
            </a:defPPr>
          </a:lstStyle>
          <a:p>
            <a:r>
              <a:rPr lang="en-US" err="1"/>
              <a:t>DWScripter</a:t>
            </a:r>
            <a:r>
              <a:rPr lang="en-US"/>
              <a:t> formatted the partition date an “01/02/2018” means “Jan 2, 2018” in US.  This will cause the data to be placed in the incorrect partitions.  </a:t>
            </a:r>
          </a:p>
          <a:p>
            <a:r>
              <a:rPr lang="en-US"/>
              <a:t>Issue:</a:t>
            </a:r>
          </a:p>
          <a:p>
            <a:pPr marL="742950" lvl="1" indent="-285750">
              <a:buFont typeface="Arial" panose="020B0604020202020204" pitchFamily="34" charset="0"/>
              <a:buChar char="•"/>
            </a:pPr>
            <a:r>
              <a:rPr lang="en-US"/>
              <a:t>This issue needs to be researched in </a:t>
            </a:r>
            <a:r>
              <a:rPr lang="en-US" err="1"/>
              <a:t>DWScripter</a:t>
            </a:r>
            <a:r>
              <a:rPr lang="en-US"/>
              <a:t> to determine if it’s a bug or how the date existed in APS.</a:t>
            </a:r>
          </a:p>
          <a:p>
            <a:r>
              <a:rPr lang="en-US"/>
              <a:t>Fix:</a:t>
            </a:r>
          </a:p>
          <a:p>
            <a:pPr marL="742950" lvl="1" indent="-285750">
              <a:buFont typeface="Arial" panose="020B0604020202020204" pitchFamily="34" charset="0"/>
              <a:buChar char="•"/>
            </a:pPr>
            <a:r>
              <a:rPr lang="en-US"/>
              <a:t>Convert the date format as 'Feb 1 2018' to work correctly in SQLDW</a:t>
            </a:r>
          </a:p>
          <a:p>
            <a:endParaRPr lang="en-US"/>
          </a:p>
        </p:txBody>
      </p:sp>
    </p:spTree>
    <p:extLst>
      <p:ext uri="{BB962C8B-B14F-4D97-AF65-F5344CB8AC3E}">
        <p14:creationId xmlns:p14="http://schemas.microsoft.com/office/powerpoint/2010/main" val="178828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1054550" y="990030"/>
            <a:ext cx="9722307"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200" dirty="0">
                <a:solidFill>
                  <a:schemeClr val="tx1"/>
                </a:solidFill>
                <a:latin typeface="+mn-lt"/>
                <a:cs typeface="Segoe UI"/>
              </a:rPr>
              <a:t>Discovery workshop</a:t>
            </a:r>
          </a:p>
          <a:p>
            <a:pPr marL="921711" lvl="1" indent="-685165">
              <a:buFont typeface="+mj-lt"/>
              <a:buAutoNum type="alphaLcPeriod"/>
            </a:pPr>
            <a:r>
              <a:rPr lang="en-US" sz="1400" dirty="0">
                <a:solidFill>
                  <a:schemeClr val="tx1"/>
                </a:solidFill>
                <a:cs typeface="Segoe UI"/>
              </a:rPr>
              <a:t>Complete a migration assessment questionnaire.</a:t>
            </a:r>
          </a:p>
          <a:p>
            <a:pPr marL="921711" lvl="1" indent="-685165">
              <a:buFont typeface="+mj-lt"/>
              <a:buAutoNum type="alphaLcPeriod"/>
            </a:pPr>
            <a:r>
              <a:rPr lang="en-US" sz="1400" dirty="0">
                <a:solidFill>
                  <a:schemeClr val="tx1"/>
                </a:solidFill>
                <a:cs typeface="Segoe UI"/>
              </a:rPr>
              <a:t>Perform a Pre-Assessment of the APS System.  (tools available from MS)</a:t>
            </a:r>
          </a:p>
          <a:p>
            <a:pPr marL="921711" lvl="1" indent="-685165">
              <a:buFont typeface="+mj-lt"/>
              <a:buAutoNum type="alphaLcPeriod"/>
            </a:pPr>
            <a:r>
              <a:rPr lang="en-US" sz="1400" dirty="0">
                <a:solidFill>
                  <a:schemeClr val="tx1"/>
                </a:solidFill>
                <a:cs typeface="Segoe UI"/>
              </a:rPr>
              <a:t>Determine Database to Schema migration approach.</a:t>
            </a:r>
          </a:p>
          <a:p>
            <a:pPr marL="921711" lvl="1" indent="-685165">
              <a:buFont typeface="+mj-lt"/>
              <a:buAutoNum type="alphaLcPeriod"/>
            </a:pPr>
            <a:r>
              <a:rPr lang="en-US" sz="1400" dirty="0">
                <a:solidFill>
                  <a:schemeClr val="tx1"/>
                </a:solidFill>
                <a:cs typeface="Segoe UI"/>
              </a:rPr>
              <a:t>Determine the scope of the migration.</a:t>
            </a:r>
          </a:p>
          <a:p>
            <a:pPr marL="0" indent="0">
              <a:buNone/>
            </a:pPr>
            <a:r>
              <a:rPr lang="en-US" sz="3200" dirty="0">
                <a:solidFill>
                  <a:schemeClr val="tx1"/>
                </a:solidFill>
                <a:latin typeface="+mn-lt"/>
                <a:cs typeface="Segoe UI"/>
              </a:rPr>
              <a:t>Implementation</a:t>
            </a:r>
          </a:p>
          <a:p>
            <a:pPr marL="921711" lvl="1" indent="-685165">
              <a:buFont typeface="+mj-lt"/>
              <a:buAutoNum type="alphaLcPeriod"/>
            </a:pPr>
            <a:r>
              <a:rPr lang="en-US" sz="1400" dirty="0">
                <a:solidFill>
                  <a:schemeClr val="tx1"/>
                </a:solidFill>
                <a:cs typeface="Segoe UI"/>
              </a:rPr>
              <a:t>Configure Export/Import Process (APS &amp; SQLDW)</a:t>
            </a:r>
          </a:p>
          <a:p>
            <a:pPr marL="921711" lvl="1" indent="-685165">
              <a:buFont typeface="+mj-lt"/>
              <a:buAutoNum type="alphaLcPeriod"/>
            </a:pPr>
            <a:r>
              <a:rPr lang="en-US" sz="1400" dirty="0">
                <a:solidFill>
                  <a:schemeClr val="tx1"/>
                </a:solidFill>
                <a:cs typeface="Segoe UI"/>
              </a:rPr>
              <a:t>Script out the APS objects (Schemas/Tables/Views/SPs).</a:t>
            </a:r>
          </a:p>
          <a:p>
            <a:pPr marL="921711" lvl="1" indent="-685165">
              <a:buFont typeface="+mj-lt"/>
              <a:buAutoNum type="alphaLcPeriod"/>
            </a:pPr>
            <a:r>
              <a:rPr lang="en-US" sz="1400" dirty="0">
                <a:solidFill>
                  <a:schemeClr val="tx1"/>
                </a:solidFill>
                <a:cs typeface="Segoe UI"/>
              </a:rPr>
              <a:t>Get Data Validation – Row Counts on Tables in APS</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Create SQLDW Schemas/Tables/Views</a:t>
            </a:r>
            <a:endParaRPr lang="en-US" sz="1400" dirty="0">
              <a:solidFill>
                <a:schemeClr val="tx1"/>
              </a:solidFill>
              <a:highlight>
                <a:srgbClr val="FF0000"/>
              </a:highlight>
              <a:cs typeface="Segoe UI Light"/>
            </a:endParaRPr>
          </a:p>
          <a:p>
            <a:pPr marL="921711" lvl="1" indent="-685165">
              <a:buFont typeface="+mj-lt"/>
              <a:buAutoNum type="alphaLcPeriod"/>
            </a:pPr>
            <a:r>
              <a:rPr lang="en-US" sz="1400" dirty="0">
                <a:solidFill>
                  <a:schemeClr val="tx1"/>
                </a:solidFill>
                <a:cs typeface="Segoe UI"/>
              </a:rPr>
              <a:t>Create/Migrate SQLDW SPs</a:t>
            </a:r>
          </a:p>
          <a:p>
            <a:pPr marL="921711" lvl="1" indent="-685165">
              <a:buFont typeface="+mj-lt"/>
              <a:buAutoNum type="alphaLcPeriod"/>
            </a:pPr>
            <a:r>
              <a:rPr lang="en-US" sz="1400" dirty="0">
                <a:solidFill>
                  <a:schemeClr val="tx1"/>
                </a:solidFill>
                <a:cs typeface="Segoe UI"/>
              </a:rPr>
              <a:t>Create External Tables (APS and SQLDW) </a:t>
            </a:r>
          </a:p>
          <a:p>
            <a:pPr marL="921711" lvl="1" indent="-685165">
              <a:buFont typeface="+mj-lt"/>
              <a:buAutoNum type="alphaLcPeriod"/>
            </a:pPr>
            <a:r>
              <a:rPr lang="en-US" sz="1400" dirty="0">
                <a:solidFill>
                  <a:schemeClr val="tx1"/>
                </a:solidFill>
                <a:cs typeface="Segoe UI"/>
              </a:rPr>
              <a:t>Setup Scheduled Jobs (ETL) (Carried out by Customer) </a:t>
            </a:r>
          </a:p>
          <a:p>
            <a:pPr marL="921711" lvl="1" indent="-685165">
              <a:buFont typeface="+mj-lt"/>
              <a:buAutoNum type="alphaLcPeriod"/>
            </a:pPr>
            <a:r>
              <a:rPr lang="en-US" sz="1400" dirty="0">
                <a:solidFill>
                  <a:schemeClr val="tx1"/>
                </a:solidFill>
                <a:cs typeface="Segoe UI"/>
              </a:rPr>
              <a:t>Export Data to Azure</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Import Data into SQLDW</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Rebuild Indexes/Stats</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Migrate Security</a:t>
            </a:r>
            <a:r>
              <a:rPr lang="en-US" sz="1400" dirty="0">
                <a:solidFill>
                  <a:schemeClr val="tx1"/>
                </a:solidFill>
                <a:cs typeface="Segoe UI Light"/>
              </a:rPr>
              <a:t> (Carried out by Customer with Microsoft’s Assistance)</a:t>
            </a:r>
          </a:p>
          <a:p>
            <a:pPr marL="921711" lvl="1" indent="-685165">
              <a:buFont typeface="+mj-lt"/>
              <a:buAutoNum type="alphaLcPeriod"/>
            </a:pPr>
            <a:r>
              <a:rPr lang="en-US" sz="1400" dirty="0">
                <a:solidFill>
                  <a:schemeClr val="tx1"/>
                </a:solidFill>
                <a:cs typeface="Segoe UI"/>
              </a:rPr>
              <a:t>Validate Data between APS and SQLDW– Row Counts</a:t>
            </a:r>
          </a:p>
          <a:p>
            <a:pPr marL="921711" lvl="1" indent="-685165">
              <a:buFont typeface="+mj-lt"/>
              <a:buAutoNum type="alphaLcPeriod"/>
            </a:pPr>
            <a:r>
              <a:rPr lang="en-US" sz="1400" dirty="0">
                <a:solidFill>
                  <a:schemeClr val="tx1"/>
                </a:solidFill>
                <a:cs typeface="Segoe UI"/>
              </a:rPr>
              <a:t>Performance tune SQLDW</a:t>
            </a:r>
            <a:endParaRPr lang="en-US" sz="1400" dirty="0">
              <a:solidFill>
                <a:schemeClr val="tx1"/>
              </a:solidFill>
              <a:cs typeface="Segoe UI Light"/>
            </a:endParaRPr>
          </a:p>
        </p:txBody>
      </p:sp>
    </p:spTree>
    <p:extLst>
      <p:ext uri="{BB962C8B-B14F-4D97-AF65-F5344CB8AC3E}">
        <p14:creationId xmlns:p14="http://schemas.microsoft.com/office/powerpoint/2010/main" val="301935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UTC Date Conversion –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Get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2" name="Rectangle 1">
            <a:extLst>
              <a:ext uri="{FF2B5EF4-FFF2-40B4-BE49-F238E27FC236}">
                <a16:creationId xmlns:a16="http://schemas.microsoft.com/office/drawing/2014/main" id="{3AF7B064-2EBB-49F5-870C-5BE9E04FF7CE}"/>
              </a:ext>
            </a:extLst>
          </p:cNvPr>
          <p:cNvSpPr/>
          <p:nvPr/>
        </p:nvSpPr>
        <p:spPr>
          <a:xfrm>
            <a:off x="617080" y="1178063"/>
            <a:ext cx="11152314" cy="532453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QLDW will return UTC dates and Time when using </a:t>
            </a:r>
            <a:r>
              <a:rPr kumimoji="0" lang="en-US" sz="2000" b="0" i="0" u="none" strike="noStrike" kern="1200" cap="none" spc="0" normalizeH="0" baseline="0" noProof="0" err="1">
                <a:ln>
                  <a:noFill/>
                </a:ln>
                <a:solidFill>
                  <a:srgbClr val="000000"/>
                </a:solidFill>
                <a:effectLst/>
                <a:uLnTx/>
                <a:uFillTx/>
                <a:latin typeface="Segoe UI"/>
                <a:ea typeface="+mn-ea"/>
                <a:cs typeface="+mn-cs"/>
              </a:rPr>
              <a:t>Getdate</a:t>
            </a:r>
            <a:r>
              <a:rPr kumimoji="0" lang="en-US" sz="2000" b="0" i="0" u="none" strike="noStrike" kern="1200" cap="none" spc="0" normalizeH="0" baseline="0" noProof="0">
                <a:ln>
                  <a:noFill/>
                </a:ln>
                <a:solidFill>
                  <a:srgbClr val="000000"/>
                </a:solidFill>
                <a:effectLst/>
                <a:uLnTx/>
                <a:uFillTx/>
                <a:latin typeface="Segoe UI"/>
                <a:ea typeface="+mn-ea"/>
                <a:cs typeface="+mn-cs"/>
              </a:rPr>
              <a:t>() or any system date function.  Handling this will depend on the cli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If the Customer would like to store all dates/Times in Local Time zone then special handling needs to be preform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Update, Update Dates are typically fine, however this will depend on the customer’s Time Zone.  Any customer in a -1 to –N will be fine.  Any customer in a +UTC Time zone will need to review how these are handled. The ETL process will need to be paused for the +hours the customer is ahead of UTC to make sure the next ETL run does not have any over lapping dates and ti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tored Calculations like Days an order has been open or Days to Fill will need to be converted to local TZ.</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Run Durations of a SP or a step in a SP can be left as UTC.</a:t>
            </a:r>
            <a:endParaRPr lang="en-US" sz="200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srgbClr val="000000"/>
              </a:solidFill>
              <a:latin typeface="Segoe UI"/>
            </a:endParaRPr>
          </a:p>
        </p:txBody>
      </p:sp>
      <p:grpSp>
        <p:nvGrpSpPr>
          <p:cNvPr id="4" name="Group 3">
            <a:extLst>
              <a:ext uri="{FF2B5EF4-FFF2-40B4-BE49-F238E27FC236}">
                <a16:creationId xmlns:a16="http://schemas.microsoft.com/office/drawing/2014/main" id="{2882CD5C-8791-4524-823E-F3D74A2BBA44}"/>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D44C815F-13B4-4F39-A1AD-FC6B8F25769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5D6A10D4-3548-4CEC-8828-AE505A62F01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8AED0935-895C-42AF-820C-1F017CDDE1E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F8881650-8222-4A2E-803B-CC5066CD42C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C44F57E0-B9E6-4D2A-91CD-7B7693C92A73}"/>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6EF19E3B-119D-4D85-9E06-0E3819F637E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096FEC77-7758-402D-BBEE-38AF38E513C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D7F014BB-32FF-4DC7-9AD1-77160268060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DE763813-3A67-437D-A2C7-ABC1E87927E1}"/>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8AAB7319-9795-452F-A50E-9F245AAAC36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E15D4FEF-2278-4600-A0F4-685DE4F63FC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D5A3315A-CF7B-4039-B851-C2B12AC0AE3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0407222-4AAE-404A-90B0-826C41C68C0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960BCEF4-E716-44EF-882D-2E75149CB67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416A19F5-0199-452B-BE39-AD9ED088A98B}"/>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99A6D4FD-5266-4D59-B766-B0883AE41D98}"/>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CC3DCD0E-EDCC-4732-B65D-CB6FBECD0138}"/>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5071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UTC Date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948355"/>
            <a:ext cx="11781070"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To Get the local time, the following items need to be comple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Function to get the local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a Table to store the start and end datetimes for D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Insert record into the </a:t>
            </a:r>
            <a:r>
              <a:rPr lang="en-US" err="1">
                <a:solidFill>
                  <a:srgbClr val="000000"/>
                </a:solidFill>
                <a:latin typeface="Segoe UI"/>
              </a:rPr>
              <a:t>DSTCalendar</a:t>
            </a:r>
            <a:r>
              <a:rPr lang="en-US">
                <a:solidFill>
                  <a:srgbClr val="000000"/>
                </a:solidFill>
                <a:latin typeface="Segoe UI"/>
              </a:rPr>
              <a:t> T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3" name="Rectangle 2">
            <a:extLst>
              <a:ext uri="{FF2B5EF4-FFF2-40B4-BE49-F238E27FC236}">
                <a16:creationId xmlns:a16="http://schemas.microsoft.com/office/drawing/2014/main" id="{F7CE4639-13BF-403A-9B07-E387FE7DF474}"/>
              </a:ext>
            </a:extLst>
          </p:cNvPr>
          <p:cNvSpPr/>
          <p:nvPr/>
        </p:nvSpPr>
        <p:spPr>
          <a:xfrm>
            <a:off x="4397829" y="1298927"/>
            <a:ext cx="7794171" cy="1200329"/>
          </a:xfrm>
          <a:prstGeom prst="rect">
            <a:avLst/>
          </a:prstGeom>
        </p:spPr>
        <p:txBody>
          <a:bodyPr wrap="square">
            <a:spAutoFit/>
          </a:bodyPr>
          <a:lstStyle/>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Cre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UTC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return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A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Begin</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return</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SWITCHOFFSET</a:t>
            </a:r>
            <a:r>
              <a:rPr lang="en-US" sz="1200">
                <a:solidFill>
                  <a:srgbClr val="808080"/>
                </a:solidFill>
                <a:latin typeface="Consolas" panose="020B0609020204030204" pitchFamily="49" charset="0"/>
              </a:rPr>
              <a:t>(</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OFFSE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UTC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END</a:t>
            </a:r>
            <a:endParaRPr lang="en-US" sz="3200"/>
          </a:p>
        </p:txBody>
      </p:sp>
      <p:sp>
        <p:nvSpPr>
          <p:cNvPr id="4" name="Rectangle 3">
            <a:extLst>
              <a:ext uri="{FF2B5EF4-FFF2-40B4-BE49-F238E27FC236}">
                <a16:creationId xmlns:a16="http://schemas.microsoft.com/office/drawing/2014/main" id="{0B912128-6D0B-48EC-BCF8-DB6CC6C2554D}"/>
              </a:ext>
            </a:extLst>
          </p:cNvPr>
          <p:cNvSpPr/>
          <p:nvPr/>
        </p:nvSpPr>
        <p:spPr>
          <a:xfrm>
            <a:off x="6699379" y="2574522"/>
            <a:ext cx="6096000" cy="1785104"/>
          </a:xfrm>
          <a:prstGeom prst="rect">
            <a:avLst/>
          </a:prstGeom>
        </p:spPr>
        <p:txBody>
          <a:bodyPr>
            <a:spAutoFit/>
          </a:bodyPr>
          <a:lstStyle/>
          <a:p>
            <a:r>
              <a:rPr lang="en-US" sz="1100">
                <a:solidFill>
                  <a:srgbClr val="0000FF"/>
                </a:solidFill>
                <a:latin typeface="Consolas" panose="020B0609020204030204" pitchFamily="49" charset="0"/>
              </a:rPr>
              <a:t>CRE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ABLE</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DSTCalendar</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id </a:t>
            </a:r>
            <a:r>
              <a:rPr lang="en-US" sz="1100">
                <a:solidFill>
                  <a:srgbClr val="0000FF"/>
                </a:solidFill>
                <a:latin typeface="Consolas" panose="020B0609020204030204" pitchFamily="49" charset="0"/>
              </a:rPr>
              <a:t>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imeZon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4</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6</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Num</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INY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From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O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FF"/>
                </a:solidFill>
                <a:latin typeface="Consolas" panose="020B0609020204030204" pitchFamily="49" charset="0"/>
              </a:rPr>
              <a:t>WITH </a:t>
            </a:r>
            <a:r>
              <a:rPr lang="en-US" sz="1100">
                <a:solidFill>
                  <a:srgbClr val="808080"/>
                </a:solidFill>
                <a:latin typeface="Consolas" panose="020B0609020204030204" pitchFamily="49" charset="0"/>
              </a:rPr>
              <a:t>(</a:t>
            </a:r>
            <a:r>
              <a:rPr lang="en-US" sz="1100">
                <a:solidFill>
                  <a:srgbClr val="0000FF"/>
                </a:solidFill>
                <a:latin typeface="Consolas" panose="020B0609020204030204" pitchFamily="49" charset="0"/>
              </a:rPr>
              <a:t>DISTRIBUTION</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FF00FF"/>
                </a:solidFill>
                <a:latin typeface="Consolas" panose="020B0609020204030204" pitchFamily="49" charset="0"/>
              </a:rPr>
              <a:t>REPLICATE</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HEAP</a:t>
            </a:r>
            <a:r>
              <a:rPr lang="en-US" sz="1100">
                <a:solidFill>
                  <a:srgbClr val="808080"/>
                </a:solidFill>
                <a:latin typeface="Consolas" panose="020B0609020204030204" pitchFamily="49" charset="0"/>
              </a:rPr>
              <a:t>)</a:t>
            </a:r>
            <a:endParaRPr lang="en-US" sz="2800"/>
          </a:p>
        </p:txBody>
      </p:sp>
      <p:sp>
        <p:nvSpPr>
          <p:cNvPr id="5" name="Rectangle 4">
            <a:extLst>
              <a:ext uri="{FF2B5EF4-FFF2-40B4-BE49-F238E27FC236}">
                <a16:creationId xmlns:a16="http://schemas.microsoft.com/office/drawing/2014/main" id="{15FF4FD3-6E47-4DC4-8DAB-D8B50036C48F}"/>
              </a:ext>
            </a:extLst>
          </p:cNvPr>
          <p:cNvSpPr/>
          <p:nvPr/>
        </p:nvSpPr>
        <p:spPr>
          <a:xfrm>
            <a:off x="4739759" y="4520588"/>
            <a:ext cx="7246775" cy="2192908"/>
          </a:xfrm>
          <a:prstGeom prst="rect">
            <a:avLst/>
          </a:prstGeom>
        </p:spPr>
        <p:txBody>
          <a:bodyPr wrap="square">
            <a:spAutoFit/>
          </a:bodyPr>
          <a:lstStyle/>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6</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7</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8</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9</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1:59:59’</a:t>
            </a:r>
            <a:r>
              <a:rPr lang="en-US" sz="1050">
                <a:solidFill>
                  <a:srgbClr val="808080"/>
                </a:solidFill>
                <a:latin typeface="Consolas" panose="020B0609020204030204" pitchFamily="49" charset="0"/>
              </a:rPr>
              <a:t>)</a:t>
            </a: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9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9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9 1:59:59'</a:t>
            </a:r>
            <a:r>
              <a:rPr lang="en-US" sz="1050">
                <a:solidFill>
                  <a:srgbClr val="808080"/>
                </a:solidFill>
                <a:latin typeface="Consolas" panose="020B0609020204030204" pitchFamily="49" charset="0"/>
              </a:rPr>
              <a:t>)</a:t>
            </a:r>
            <a:endParaRPr lang="en-US" sz="2400"/>
          </a:p>
        </p:txBody>
      </p:sp>
      <p:grpSp>
        <p:nvGrpSpPr>
          <p:cNvPr id="7" name="Group 6">
            <a:extLst>
              <a:ext uri="{FF2B5EF4-FFF2-40B4-BE49-F238E27FC236}">
                <a16:creationId xmlns:a16="http://schemas.microsoft.com/office/drawing/2014/main" id="{8F3E04E0-BA49-432C-912D-072CAA499606}"/>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5C0DE040-6E06-49B9-85B5-6BE3509F8DF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01EB2C93-E2B2-4A85-B5B5-950B149B3D6C}"/>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44F238AC-108E-4721-81AD-3220BBB3D67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3FB12FDA-ED18-4B0E-9A9C-8DE945EE05C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EF6DF693-5CE4-4192-97B6-5B2B28D6ACBD}"/>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C43D7B26-C287-4127-85CD-392DE37A751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4AF79B75-558F-47E0-B3CA-0952876268C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F3ACEF25-C0DB-4B16-B075-705615EC403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E6E4F04-4768-4E3A-82D8-6C2CF3AA5F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DFEF1E69-3E35-4F6E-B7C3-8F1DE9DEEF7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2349F3A3-8EFE-40D9-8903-C578051D77B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2FB939A1-AA70-4AD6-A8E3-1E60021910E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EFD57898-FE91-4695-88B2-C72ADF2956CC}"/>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0FC44314-0E19-4244-B905-4D4E2AFC505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1777DD6-C6FB-4437-85A8-287BA6230BA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3341A95C-E46A-43AE-BF07-74DED01A658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0775844-F553-4205-B2CB-8CA616C12E0D}"/>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2979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UTC 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1166843"/>
            <a:ext cx="11781070" cy="120032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To get the local time, add the following to each SP that needs this function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5" name="Rectangle 4">
            <a:extLst>
              <a:ext uri="{FF2B5EF4-FFF2-40B4-BE49-F238E27FC236}">
                <a16:creationId xmlns:a16="http://schemas.microsoft.com/office/drawing/2014/main" id="{E7FFC033-2100-44F6-A0EF-6ED59C9976CD}"/>
              </a:ext>
            </a:extLst>
          </p:cNvPr>
          <p:cNvSpPr/>
          <p:nvPr/>
        </p:nvSpPr>
        <p:spPr>
          <a:xfrm>
            <a:off x="951723" y="1674674"/>
            <a:ext cx="10624456" cy="1384995"/>
          </a:xfrm>
          <a:prstGeom prst="rect">
            <a:avLst/>
          </a:prstGeom>
        </p:spPr>
        <p:txBody>
          <a:bodyPr wrap="square">
            <a:spAutoFit/>
          </a:bodyPr>
          <a:lstStyle/>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getdat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s-ES" sz="1200">
                <a:solidFill>
                  <a:srgbClr val="0000FF"/>
                </a:solidFill>
                <a:latin typeface="Consolas" panose="020B0609020204030204" pitchFamily="49" charset="0"/>
              </a:rPr>
              <a:t>DECLARE</a:t>
            </a:r>
            <a:r>
              <a:rPr lang="es-ES" sz="1200">
                <a:solidFill>
                  <a:srgbClr val="000000"/>
                </a:solidFill>
                <a:latin typeface="Consolas" panose="020B0609020204030204" pitchFamily="49" charset="0"/>
              </a:rPr>
              <a:t> @</a:t>
            </a:r>
            <a:r>
              <a:rPr lang="es-ES" sz="1200" err="1">
                <a:solidFill>
                  <a:srgbClr val="000000"/>
                </a:solidFill>
                <a:latin typeface="Consolas" panose="020B0609020204030204" pitchFamily="49" charset="0"/>
              </a:rPr>
              <a:t>TimeZone</a:t>
            </a:r>
            <a:r>
              <a:rPr lang="es-ES" sz="1200">
                <a:solidFill>
                  <a:srgbClr val="000000"/>
                </a:solidFill>
                <a:latin typeface="Consolas" panose="020B0609020204030204" pitchFamily="49" charset="0"/>
              </a:rPr>
              <a:t> </a:t>
            </a:r>
            <a:r>
              <a:rPr lang="es-ES" sz="1200">
                <a:solidFill>
                  <a:srgbClr val="0000FF"/>
                </a:solidFill>
                <a:latin typeface="Consolas" panose="020B0609020204030204" pitchFamily="49" charset="0"/>
              </a:rPr>
              <a:t>VARCHAR</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4</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FF0000"/>
                </a:solidFill>
                <a:latin typeface="Consolas" panose="020B0609020204030204" pitchFamily="49" charset="0"/>
              </a:rPr>
              <a:t>'EST’ </a:t>
            </a:r>
            <a:r>
              <a:rPr lang="es-ES" sz="1200">
                <a:solidFill>
                  <a:schemeClr val="accent2">
                    <a:lumMod val="75000"/>
                  </a:schemeClr>
                </a:solidFill>
                <a:latin typeface="Consolas" panose="020B0609020204030204" pitchFamily="49" charset="0"/>
              </a:rPr>
              <a:t>–-</a:t>
            </a:r>
            <a:r>
              <a:rPr lang="es-ES" sz="1200" err="1">
                <a:solidFill>
                  <a:schemeClr val="accent2">
                    <a:lumMod val="75000"/>
                  </a:schemeClr>
                </a:solidFill>
                <a:latin typeface="Consolas" panose="020B0609020204030204" pitchFamily="49" charset="0"/>
              </a:rPr>
              <a:t>TimeZone</a:t>
            </a:r>
            <a:endParaRPr lang="es-ES" sz="1200">
              <a:solidFill>
                <a:schemeClr val="accent2">
                  <a:lumMod val="75000"/>
                </a:schemeClr>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offse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ffSe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DSTCalenda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betwee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From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o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get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3200"/>
          </a:p>
        </p:txBody>
      </p:sp>
      <p:grpSp>
        <p:nvGrpSpPr>
          <p:cNvPr id="7" name="Group 6">
            <a:extLst>
              <a:ext uri="{FF2B5EF4-FFF2-40B4-BE49-F238E27FC236}">
                <a16:creationId xmlns:a16="http://schemas.microsoft.com/office/drawing/2014/main" id="{56BD7545-6A93-4B1F-A6DB-F31AB5F03D7B}"/>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83FADD54-CDCF-41E0-9696-CCB91A92ACEA}"/>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AB6E3187-3E84-4BEB-A1BD-0115CB2789E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098C0FE-53FB-46F5-87AE-D39BAA49379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6CBA74AE-0FDD-4F70-9D62-62BC863AEC31}"/>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04ECAB00-658B-4CF6-8935-DD47F5A0648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ADB1E190-06C4-4018-9A4F-783BE6FF920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540BB220-45AB-4368-9EF0-7491ABC1EF8A}"/>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2168C45E-6777-4C16-B277-69F94C180E7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2999A5F-B62A-427D-962C-DDC6AAE375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E5C89726-41BA-4BED-9FED-DEF98753E88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516D1283-2D26-48BB-81EB-51B57A2D322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8628A30-AA5D-42A1-B431-847590FAE394}"/>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0B176E79-74A5-44C7-A252-8B7EC9FF876A}"/>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7B2CA907-3AEE-4AC6-9900-6E96AB7F788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E881DD5F-64FA-45D5-9CDA-F58405D5C4D7}"/>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62D78D54-E974-41A1-9E38-F4916F079336}"/>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99AFDED-8A54-4BEF-8BA4-57C9A70BBA93}"/>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9963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PS to </a:t>
            </a:r>
            <a:r>
              <a:rPr kumimoji="0" lang="en-US" sz="4000" b="0" i="0" u="none" strike="noStrike" kern="1200" cap="none" spc="0" normalizeH="0" baseline="0" noProof="0" dirty="0" err="1">
                <a:ln>
                  <a:noFill/>
                </a:ln>
                <a:solidFill>
                  <a:srgbClr val="FFFFFF"/>
                </a:solidFill>
                <a:effectLst/>
                <a:uLnTx/>
                <a:uFillTx/>
                <a:latin typeface="Segoe UI Light" panose="020B0502040204020203" pitchFamily="34" charset="0"/>
                <a:ea typeface="+mn-ea"/>
                <a:cs typeface="Segoe UI Light" panose="020B0502040204020203" pitchFamily="34" charset="0"/>
              </a:rPr>
              <a:t>SQLDW</a:t>
            </a: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990030"/>
            <a:ext cx="10571393"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4000" b="0" i="0" u="none" strike="noStrike" kern="1200" cap="none" spc="0" normalizeH="0" baseline="0" noProof="0" dirty="0">
                <a:ln>
                  <a:noFill/>
                </a:ln>
                <a:solidFill>
                  <a:srgbClr val="000000"/>
                </a:solidFill>
                <a:effectLst/>
                <a:uLnTx/>
                <a:uFillTx/>
                <a:latin typeface="Segoe UI"/>
                <a:ea typeface="ＭＳ Ｐゴシック" charset="0"/>
                <a:cs typeface="Segoe UI"/>
              </a:rPr>
              <a:t>Implementation</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onfigure Export/Import Process (APS &amp; SQLDW)</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cript out the APS objects (Schemas/Tables/Views/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Get Data Validation – Row Counts on Tables in APS</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SQLDW Schemas/Tables/Views</a:t>
            </a:r>
            <a:endParaRPr kumimoji="0" lang="en-US" sz="1800" b="0" i="0" u="none" strike="noStrike" kern="1200" cap="none" spc="0" normalizeH="0" baseline="0" noProof="0" dirty="0">
              <a:ln>
                <a:noFill/>
              </a:ln>
              <a:solidFill>
                <a:srgbClr val="000000"/>
              </a:solidFill>
              <a:effectLst/>
              <a:highlight>
                <a:srgbClr val="FF00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Migrate SQLDW 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External Tables (APS and SQLDW) </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lang="en-US" sz="1800" dirty="0">
                <a:solidFill>
                  <a:srgbClr val="000000"/>
                </a:solidFill>
                <a:latin typeface="Segoe UI"/>
                <a:cs typeface="Segoe UI"/>
              </a:rPr>
              <a:t>Convert ETL processes – </a:t>
            </a:r>
            <a:r>
              <a:rPr lang="en-US" sz="1800" b="1" dirty="0">
                <a:solidFill>
                  <a:srgbClr val="000000"/>
                </a:solidFill>
                <a:latin typeface="Segoe UI"/>
                <a:cs typeface="Segoe UI"/>
              </a:rPr>
              <a:t>Not Covered in this Session</a:t>
            </a:r>
            <a:endParaRPr kumimoji="0" lang="en-US" sz="1800" b="1"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lvl="1" indent="-685165">
              <a:buFont typeface="+mj-lt"/>
              <a:buAutoNum type="alphaLcPeriod"/>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etup Scheduled Jobs (ETL) (Carried out by Customer) - </a:t>
            </a:r>
            <a:r>
              <a:rPr lang="en-US" sz="1800" b="1" dirty="0">
                <a:solidFill>
                  <a:srgbClr val="000000"/>
                </a:solidFill>
                <a:cs typeface="Segoe UI"/>
              </a:rPr>
              <a:t>Not Covered in this Session</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Export Data to Azure</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Import Data into SQLDW</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Rebuild Indexes/Stats</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Migrate Security</a:t>
            </a: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rPr>
              <a:t> (Carried out by Customer with Microsoft’s Assistance)</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Validate Data between APS and SQLDW– Row Count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Performance tune SQLDW</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p:txBody>
      </p:sp>
    </p:spTree>
    <p:extLst>
      <p:ext uri="{BB962C8B-B14F-4D97-AF65-F5344CB8AC3E}">
        <p14:creationId xmlns:p14="http://schemas.microsoft.com/office/powerpoint/2010/main" val="378177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0"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89952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Process and Tools</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1604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0" y="980270"/>
            <a:ext cx="12192000"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MPP scripts from APS.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1_CreateMPP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lean output from Step 1.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2_Clean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lang="en-US" sz="2400" dirty="0">
                <a:gradFill>
                  <a:gsLst>
                    <a:gs pos="0">
                      <a:srgbClr val="292929"/>
                    </a:gs>
                    <a:gs pos="86000">
                      <a:srgbClr val="292929"/>
                    </a:gs>
                  </a:gsLst>
                  <a:lin ang="5400000" scaled="0"/>
                </a:gradFill>
                <a:cs typeface="Calibri" panose="020F0502020204030204" pitchFamily="34" charset="0"/>
              </a:rPr>
              <a:t>Make Schema changes to MPP Scripts. </a:t>
            </a:r>
            <a:r>
              <a:rPr lang="en-US" sz="2400" b="1" dirty="0">
                <a:solidFill>
                  <a:srgbClr val="0070C0"/>
                </a:solidFill>
                <a:cs typeface="Calibri" panose="020F0502020204030204" pitchFamily="34" charset="0"/>
              </a:rPr>
              <a:t>3_ChangeSchema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ata Export/Import Scripts. </a:t>
            </a:r>
            <a:r>
              <a:rPr lang="en-US" sz="2400" b="1" dirty="0">
                <a:solidFill>
                  <a:srgbClr val="0070C0"/>
                </a:solidFill>
                <a:cs typeface="Calibri" panose="020F0502020204030204" pitchFamily="34" charset="0"/>
              </a:rPr>
              <a:t>4_CreateAPSExportScriptSQLDWImportScrip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indent="-685783">
              <a:buFont typeface="+mj-lt"/>
              <a:buAutoNum type="arabicPeriod"/>
              <a:defRPr/>
            </a:pPr>
            <a:r>
              <a:rPr lang="en-US" sz="2400" dirty="0">
                <a:gradFill>
                  <a:gsLst>
                    <a:gs pos="0">
                      <a:srgbClr val="292929"/>
                    </a:gs>
                    <a:gs pos="86000">
                      <a:srgbClr val="292929"/>
                    </a:gs>
                  </a:gsLst>
                  <a:lin ang="5400000" scaled="0"/>
                </a:gradFill>
                <a:cs typeface="Calibri" panose="020F0502020204030204" pitchFamily="34" charset="0"/>
              </a:rPr>
              <a:t>Create External Tables for SQLDW. </a:t>
            </a:r>
            <a:r>
              <a:rPr lang="en-US" sz="2400" b="1" dirty="0">
                <a:solidFill>
                  <a:srgbClr val="0070C0"/>
                </a:solidFill>
                <a:cs typeface="Calibri" panose="020F0502020204030204" pitchFamily="34" charset="0"/>
              </a:rPr>
              <a:t>5_CreateExternalTablesSQLDW</a:t>
            </a:r>
            <a:endParaRPr lang="en-US" sz="2400" dirty="0">
              <a:gradFill>
                <a:gsLst>
                  <a:gs pos="0">
                    <a:srgbClr val="292929"/>
                  </a:gs>
                  <a:gs pos="86000">
                    <a:srgbClr val="292929"/>
                  </a:gs>
                </a:gsLst>
                <a:lin ang="5400000" scaled="0"/>
              </a:gradFill>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Run Scripts for Migration.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6_DeployScriptsToSQLDW </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Export Data to Azure – Scripts from step 4 above</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Tables/Views/SPs – Scripts from step 3 above (SP’s require manual changes first)</a:t>
            </a:r>
          </a:p>
          <a:p>
            <a:pPr marL="1146175" lvl="1" indent="-463550">
              <a:buFont typeface="+mj-lt"/>
              <a:buAutoNum type="alphaLcParenR"/>
              <a:defRPr/>
            </a:pPr>
            <a:r>
              <a:rPr lang="en-US" sz="1400" dirty="0">
                <a:gradFill>
                  <a:gsLst>
                    <a:gs pos="0">
                      <a:srgbClr val="292929"/>
                    </a:gs>
                    <a:gs pos="86000">
                      <a:srgbClr val="292929"/>
                    </a:gs>
                  </a:gsLst>
                  <a:lin ang="5400000" scaled="0"/>
                </a:gradFill>
                <a:cs typeface="Calibri" panose="020F0502020204030204" pitchFamily="34" charset="0"/>
              </a:rPr>
              <a:t>Import Data to SQLDW – Scripts from step 5 &amp; 4 above</a:t>
            </a:r>
            <a:endPar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endParaRPr>
          </a:p>
          <a:p>
            <a:pPr marL="1146175" lvl="1" indent="-463550">
              <a:buFont typeface="+mj-lt"/>
              <a:buAutoNum type="alphaLcParenR"/>
              <a:defRPr/>
            </a:pPr>
            <a:endParaRPr kumimoji="0" lang="en-US" sz="1067" b="0" i="0" u="none" strike="noStrike" kern="1200" cap="none" spc="0" normalizeH="0" baseline="0" noProof="0" dirty="0">
              <a:ln>
                <a:noFill/>
              </a:ln>
              <a:gradFill>
                <a:gsLst>
                  <a:gs pos="0">
                    <a:srgbClr val="292929"/>
                  </a:gs>
                  <a:gs pos="86000">
                    <a:srgbClr val="292929"/>
                  </a:gs>
                </a:gsLst>
                <a:lin ang="5400000" scaled="0"/>
              </a:gradFill>
              <a:effectLst/>
              <a:uLnTx/>
              <a:uFillTx/>
              <a:ea typeface="+mn-ea"/>
              <a:cs typeface="+mn-cs"/>
            </a:endParaRPr>
          </a:p>
        </p:txBody>
      </p:sp>
    </p:spTree>
    <p:extLst>
      <p:ext uri="{BB962C8B-B14F-4D97-AF65-F5344CB8AC3E}">
        <p14:creationId xmlns:p14="http://schemas.microsoft.com/office/powerpoint/2010/main" val="26129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90516" y="4886036"/>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1794322" y="1083025"/>
            <a:ext cx="1622858" cy="1497073"/>
            <a:chOff x="1988743" y="1249190"/>
            <a:chExt cx="2949930" cy="2326254"/>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49930" cy="2326254"/>
              <a:chOff x="1924735" y="938294"/>
              <a:chExt cx="2949930" cy="2326254"/>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49930" cy="1895475"/>
                <a:chOff x="1924735" y="1369073"/>
                <a:chExt cx="2949930" cy="1895475"/>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4"/>
                  <a:ext cx="2949930" cy="110474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gradFill>
                        <a:gsLst>
                          <a:gs pos="2917">
                            <a:srgbClr val="000000"/>
                          </a:gs>
                          <a:gs pos="30000">
                            <a:srgbClr val="000000"/>
                          </a:gs>
                        </a:gsLst>
                        <a:lin ang="5400000" scaled="0"/>
                      </a:gradFill>
                      <a:latin typeface="Segoe UI"/>
                    </a:rPr>
                    <a:t>Create Statistics &amp; Index</a:t>
                  </a:r>
                  <a:endPar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7" name="Rectangle 66">
            <a:extLst>
              <a:ext uri="{FF2B5EF4-FFF2-40B4-BE49-F238E27FC236}">
                <a16:creationId xmlns:a16="http://schemas.microsoft.com/office/drawing/2014/main" id="{4580A686-0634-48E2-A406-DD5E6FD0E2B1}"/>
              </a:ext>
            </a:extLst>
          </p:cNvPr>
          <p:cNvSpPr/>
          <p:nvPr/>
        </p:nvSpPr>
        <p:spPr bwMode="auto">
          <a:xfrm>
            <a:off x="1855362" y="1145383"/>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341772" y="2727491"/>
            <a:ext cx="1491400" cy="646817"/>
            <a:chOff x="2608408" y="780793"/>
            <a:chExt cx="1491400" cy="646817"/>
          </a:xfrm>
        </p:grpSpPr>
        <p:sp>
          <p:nvSpPr>
            <p:cNvPr id="68" name="TextBox 67">
              <a:extLst>
                <a:ext uri="{FF2B5EF4-FFF2-40B4-BE49-F238E27FC236}">
                  <a16:creationId xmlns:a16="http://schemas.microsoft.com/office/drawing/2014/main" id="{5B412AE4-A6AA-4981-9EA6-1F47045B5810}"/>
                </a:ext>
              </a:extLst>
            </p:cNvPr>
            <p:cNvSpPr txBox="1"/>
            <p:nvPr/>
          </p:nvSpPr>
          <p:spPr>
            <a:xfrm>
              <a:off x="2830061" y="780793"/>
              <a:ext cx="126974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81" name="TextBox 80">
            <a:extLst>
              <a:ext uri="{FF2B5EF4-FFF2-40B4-BE49-F238E27FC236}">
                <a16:creationId xmlns:a16="http://schemas.microsoft.com/office/drawing/2014/main" id="{9B61A876-470A-4B77-B947-6D9365AC2063}"/>
              </a:ext>
            </a:extLst>
          </p:cNvPr>
          <p:cNvSpPr txBox="1"/>
          <p:nvPr/>
        </p:nvSpPr>
        <p:spPr>
          <a:xfrm>
            <a:off x="3723206" y="2483724"/>
            <a:ext cx="184194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108" name="Arrow: Right 107">
            <a:extLst>
              <a:ext uri="{FF2B5EF4-FFF2-40B4-BE49-F238E27FC236}">
                <a16:creationId xmlns:a16="http://schemas.microsoft.com/office/drawing/2014/main" id="{FC5AAE84-204A-415A-8EF6-B1D40690B0F7}"/>
              </a:ext>
            </a:extLst>
          </p:cNvPr>
          <p:cNvSpPr/>
          <p:nvPr/>
        </p:nvSpPr>
        <p:spPr bwMode="auto">
          <a:xfrm>
            <a:off x="4855907" y="314866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7164915" y="3188157"/>
            <a:ext cx="2405323" cy="627864"/>
            <a:chOff x="2432200" y="793078"/>
            <a:chExt cx="3530153" cy="627864"/>
          </a:xfrm>
        </p:grpSpPr>
        <p:sp>
          <p:nvSpPr>
            <p:cNvPr id="111" name="TextBox 110">
              <a:extLst>
                <a:ext uri="{FF2B5EF4-FFF2-40B4-BE49-F238E27FC236}">
                  <a16:creationId xmlns:a16="http://schemas.microsoft.com/office/drawing/2014/main" id="{A7B86770-263C-42B1-A578-0E30EE801DF7}"/>
                </a:ext>
              </a:extLst>
            </p:cNvPr>
            <p:cNvSpPr txBox="1"/>
            <p:nvPr/>
          </p:nvSpPr>
          <p:spPr>
            <a:xfrm>
              <a:off x="2825309" y="793078"/>
              <a:ext cx="313704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APS </a:t>
              </a:r>
              <a:r>
                <a:rPr lang="en-US" sz="1200">
                  <a:gradFill>
                    <a:gsLst>
                      <a:gs pos="2917">
                        <a:srgbClr val="000000"/>
                      </a:gs>
                      <a:gs pos="30000">
                        <a:srgbClr val="000000"/>
                      </a:gs>
                    </a:gsLst>
                    <a:lin ang="5400000" scaled="0"/>
                  </a:gradFill>
                  <a:latin typeface="Segoe UI"/>
                </a:rPr>
                <a:t>Export &amp; SQLDW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32200" y="846206"/>
              <a:ext cx="599636" cy="572464"/>
              <a:chOff x="5410776" y="1573525"/>
              <a:chExt cx="599636"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410776" y="1573525"/>
                <a:ext cx="599636"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3408726" y="4931733"/>
            <a:ext cx="1204602" cy="1264244"/>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750232" y="4829377"/>
            <a:ext cx="1571628" cy="572464"/>
            <a:chOff x="2608408" y="855146"/>
            <a:chExt cx="1571628"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1403627"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1823568" y="2274285"/>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1780965" y="3509918"/>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3602966" y="4931733"/>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5453825" y="1084171"/>
            <a:ext cx="1614403" cy="1358573"/>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514865" y="1146529"/>
            <a:ext cx="1561818" cy="3635798"/>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7164915" y="2329057"/>
            <a:ext cx="70018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9482416" y="3183890"/>
            <a:ext cx="1714085" cy="572464"/>
            <a:chOff x="2608408" y="855146"/>
            <a:chExt cx="1778462"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12" y="887551"/>
              <a:ext cx="161045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C)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490694" y="2258571"/>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5440468" y="3511064"/>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01" name="Arrow: Right 200">
            <a:extLst>
              <a:ext uri="{FF2B5EF4-FFF2-40B4-BE49-F238E27FC236}">
                <a16:creationId xmlns:a16="http://schemas.microsoft.com/office/drawing/2014/main" id="{4B4783F8-1FD1-439F-B7A8-FC872EDF18EA}"/>
              </a:ext>
            </a:extLst>
          </p:cNvPr>
          <p:cNvSpPr/>
          <p:nvPr/>
        </p:nvSpPr>
        <p:spPr bwMode="auto">
          <a:xfrm rot="1261198">
            <a:off x="10317415" y="2502802"/>
            <a:ext cx="54864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10328158" y="3643344"/>
            <a:ext cx="64008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7693172" y="4845139"/>
            <a:ext cx="1327389" cy="1333293"/>
            <a:chOff x="2769423" y="3657107"/>
            <a:chExt cx="1327389" cy="1610102"/>
          </a:xfrm>
        </p:grpSpPr>
        <p:sp>
          <p:nvSpPr>
            <p:cNvPr id="204" name="TextBox 203">
              <a:extLst>
                <a:ext uri="{FF2B5EF4-FFF2-40B4-BE49-F238E27FC236}">
                  <a16:creationId xmlns:a16="http://schemas.microsoft.com/office/drawing/2014/main" id="{2860A4D5-0768-4F34-B043-DDCC9EE60C6F}"/>
                </a:ext>
              </a:extLst>
            </p:cNvPr>
            <p:cNvSpPr txBox="1"/>
            <p:nvPr/>
          </p:nvSpPr>
          <p:spPr>
            <a:xfrm>
              <a:off x="2769423" y="4694745"/>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057769" y="3817366"/>
              <a:ext cx="677290" cy="10400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5900" y="3657107"/>
              <a:ext cx="831626" cy="80839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900">
                  <a:gradFill>
                    <a:gsLst>
                      <a:gs pos="2917">
                        <a:srgbClr val="000000"/>
                      </a:gs>
                      <a:gs pos="30000">
                        <a:srgbClr val="000000"/>
                      </a:gs>
                    </a:gsLst>
                    <a:lin ang="5400000" scaled="0"/>
                  </a:gradFill>
                  <a:latin typeface="Segoe UI"/>
                </a:rPr>
                <a:t>Export &amp; </a:t>
              </a: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grpSp>
        <p:nvGrpSpPr>
          <p:cNvPr id="210" name="Group 209">
            <a:extLst>
              <a:ext uri="{FF2B5EF4-FFF2-40B4-BE49-F238E27FC236}">
                <a16:creationId xmlns:a16="http://schemas.microsoft.com/office/drawing/2014/main" id="{B84B13B2-A5C7-4E4C-8CC2-79682D804028}"/>
              </a:ext>
            </a:extLst>
          </p:cNvPr>
          <p:cNvGrpSpPr/>
          <p:nvPr/>
        </p:nvGrpSpPr>
        <p:grpSpPr>
          <a:xfrm>
            <a:off x="7160833" y="1522613"/>
            <a:ext cx="1749569" cy="704808"/>
            <a:chOff x="2588752" y="779830"/>
            <a:chExt cx="1815278" cy="704808"/>
          </a:xfrm>
        </p:grpSpPr>
        <p:sp>
          <p:nvSpPr>
            <p:cNvPr id="211" name="TextBox 210">
              <a:extLst>
                <a:ext uri="{FF2B5EF4-FFF2-40B4-BE49-F238E27FC236}">
                  <a16:creationId xmlns:a16="http://schemas.microsoft.com/office/drawing/2014/main" id="{CBB1790F-AD24-407A-917F-D21FA0935473}"/>
                </a:ext>
              </a:extLst>
            </p:cNvPr>
            <p:cNvSpPr txBox="1"/>
            <p:nvPr/>
          </p:nvSpPr>
          <p:spPr>
            <a:xfrm>
              <a:off x="2783552" y="779830"/>
              <a:ext cx="1620478"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588752" y="850923"/>
              <a:ext cx="319082" cy="572464"/>
              <a:chOff x="5567328" y="1578242"/>
              <a:chExt cx="319082"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67328" y="1578242"/>
                <a:ext cx="2475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a:gradFill>
                      <a:gsLst>
                        <a:gs pos="2917">
                          <a:srgbClr val="000000"/>
                        </a:gs>
                        <a:gs pos="30000">
                          <a:srgbClr val="000000"/>
                        </a:gs>
                      </a:gsLst>
                      <a:lin ang="5400000" scaled="0"/>
                    </a:gradFill>
                    <a:latin typeface="Segoe UI"/>
                  </a:rPr>
                  <a:t>5</a:t>
                </a: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023195" y="3639187"/>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1950967" y="3728278"/>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35107" y="2598108"/>
            <a:ext cx="974547" cy="974547"/>
          </a:xfrm>
          <a:prstGeom prst="rect">
            <a:avLst/>
          </a:prstGeom>
        </p:spPr>
      </p:pic>
      <p:sp>
        <p:nvSpPr>
          <p:cNvPr id="123" name="Rectangle 122">
            <a:extLst>
              <a:ext uri="{FF2B5EF4-FFF2-40B4-BE49-F238E27FC236}">
                <a16:creationId xmlns:a16="http://schemas.microsoft.com/office/drawing/2014/main" id="{1AF94DDB-B508-4894-9D10-78C3BAC4D69E}"/>
              </a:ext>
            </a:extLst>
          </p:cNvPr>
          <p:cNvSpPr/>
          <p:nvPr/>
        </p:nvSpPr>
        <p:spPr bwMode="auto">
          <a:xfrm>
            <a:off x="7703108" y="4881854"/>
            <a:ext cx="1206430" cy="1296581"/>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4" name="Arrow: Right 123">
            <a:extLst>
              <a:ext uri="{FF2B5EF4-FFF2-40B4-BE49-F238E27FC236}">
                <a16:creationId xmlns:a16="http://schemas.microsoft.com/office/drawing/2014/main" id="{361E98D8-7A5D-47FD-BFDF-A90EE37A43C4}"/>
              </a:ext>
            </a:extLst>
          </p:cNvPr>
          <p:cNvSpPr/>
          <p:nvPr/>
        </p:nvSpPr>
        <p:spPr bwMode="auto">
          <a:xfrm rot="19354946">
            <a:off x="8931501" y="4497204"/>
            <a:ext cx="822960" cy="237744"/>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27" name="Picture 126">
            <a:extLst>
              <a:ext uri="{FF2B5EF4-FFF2-40B4-BE49-F238E27FC236}">
                <a16:creationId xmlns:a16="http://schemas.microsoft.com/office/drawing/2014/main" id="{CE43D812-98B3-4F39-AA77-BCEBCB5DEA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8074" y="3434458"/>
            <a:ext cx="548640" cy="548640"/>
          </a:xfrm>
          <a:prstGeom prst="rect">
            <a:avLst/>
          </a:prstGeom>
        </p:spPr>
      </p:pic>
      <p:sp>
        <p:nvSpPr>
          <p:cNvPr id="144" name="Arrow: Right 143">
            <a:extLst>
              <a:ext uri="{FF2B5EF4-FFF2-40B4-BE49-F238E27FC236}">
                <a16:creationId xmlns:a16="http://schemas.microsoft.com/office/drawing/2014/main" id="{7F0E5409-E11D-472C-B8CF-79C221E6DCE8}"/>
              </a:ext>
            </a:extLst>
          </p:cNvPr>
          <p:cNvSpPr/>
          <p:nvPr/>
        </p:nvSpPr>
        <p:spPr bwMode="auto">
          <a:xfrm rot="5400000">
            <a:off x="8069070" y="4531134"/>
            <a:ext cx="457200" cy="237744"/>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5" name="Arrow: Right 144">
            <a:extLst>
              <a:ext uri="{FF2B5EF4-FFF2-40B4-BE49-F238E27FC236}">
                <a16:creationId xmlns:a16="http://schemas.microsoft.com/office/drawing/2014/main" id="{48029B96-FC9E-43D9-AAB9-F819AF9D801F}"/>
              </a:ext>
            </a:extLst>
          </p:cNvPr>
          <p:cNvSpPr/>
          <p:nvPr/>
        </p:nvSpPr>
        <p:spPr bwMode="auto">
          <a:xfrm>
            <a:off x="7182404" y="4005035"/>
            <a:ext cx="73152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47" name="Picture 146">
            <a:extLst>
              <a:ext uri="{FF2B5EF4-FFF2-40B4-BE49-F238E27FC236}">
                <a16:creationId xmlns:a16="http://schemas.microsoft.com/office/drawing/2014/main" id="{1ADFAA2D-0904-414E-B12D-9257F7D1FF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02906" y="2930465"/>
            <a:ext cx="640080" cy="640080"/>
          </a:xfrm>
          <a:prstGeom prst="rect">
            <a:avLst/>
          </a:prstGeom>
        </p:spPr>
      </p:pic>
      <p:sp>
        <p:nvSpPr>
          <p:cNvPr id="148" name="Arrow: Right 147">
            <a:extLst>
              <a:ext uri="{FF2B5EF4-FFF2-40B4-BE49-F238E27FC236}">
                <a16:creationId xmlns:a16="http://schemas.microsoft.com/office/drawing/2014/main" id="{9B32BFD2-E3A1-48D9-825D-4988C25E155E}"/>
              </a:ext>
            </a:extLst>
          </p:cNvPr>
          <p:cNvSpPr/>
          <p:nvPr/>
        </p:nvSpPr>
        <p:spPr bwMode="auto">
          <a:xfrm rot="16200000">
            <a:off x="393395" y="433047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9" name="Arrow: Right 148">
            <a:extLst>
              <a:ext uri="{FF2B5EF4-FFF2-40B4-BE49-F238E27FC236}">
                <a16:creationId xmlns:a16="http://schemas.microsoft.com/office/drawing/2014/main" id="{DD68B767-1281-4142-8860-B800D1B2240B}"/>
              </a:ext>
            </a:extLst>
          </p:cNvPr>
          <p:cNvSpPr/>
          <p:nvPr/>
        </p:nvSpPr>
        <p:spPr bwMode="auto">
          <a:xfrm>
            <a:off x="1049170" y="362461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1" name="Arrow: Right 170">
            <a:extLst>
              <a:ext uri="{FF2B5EF4-FFF2-40B4-BE49-F238E27FC236}">
                <a16:creationId xmlns:a16="http://schemas.microsoft.com/office/drawing/2014/main" id="{07E47029-FC9B-45C5-8C97-8835AACDADBC}"/>
              </a:ext>
            </a:extLst>
          </p:cNvPr>
          <p:cNvSpPr/>
          <p:nvPr/>
        </p:nvSpPr>
        <p:spPr bwMode="auto">
          <a:xfrm>
            <a:off x="1139696" y="5369484"/>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1" name="Arrow: Right 190">
            <a:extLst>
              <a:ext uri="{FF2B5EF4-FFF2-40B4-BE49-F238E27FC236}">
                <a16:creationId xmlns:a16="http://schemas.microsoft.com/office/drawing/2014/main" id="{EE0AD390-9AF9-47C8-8A59-EB284B67DBF1}"/>
              </a:ext>
            </a:extLst>
          </p:cNvPr>
          <p:cNvSpPr/>
          <p:nvPr/>
        </p:nvSpPr>
        <p:spPr bwMode="auto">
          <a:xfrm>
            <a:off x="3539633" y="315274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2" name="Picture 191">
            <a:extLst>
              <a:ext uri="{FF2B5EF4-FFF2-40B4-BE49-F238E27FC236}">
                <a16:creationId xmlns:a16="http://schemas.microsoft.com/office/drawing/2014/main" id="{4094B04C-FC25-4E57-89B3-7350F7C937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4167" y="3836535"/>
            <a:ext cx="548640" cy="548640"/>
          </a:xfrm>
          <a:prstGeom prst="rect">
            <a:avLst/>
          </a:prstGeom>
        </p:spPr>
      </p:pic>
      <p:pic>
        <p:nvPicPr>
          <p:cNvPr id="193" name="Picture 192">
            <a:extLst>
              <a:ext uri="{FF2B5EF4-FFF2-40B4-BE49-F238E27FC236}">
                <a16:creationId xmlns:a16="http://schemas.microsoft.com/office/drawing/2014/main" id="{24C5718E-DCEC-41E6-A30B-2DF41B82A6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35313" y="3836535"/>
            <a:ext cx="548640" cy="548640"/>
          </a:xfrm>
          <a:prstGeom prst="rect">
            <a:avLst/>
          </a:prstGeom>
        </p:spPr>
      </p:pic>
      <p:pic>
        <p:nvPicPr>
          <p:cNvPr id="194" name="Picture 193">
            <a:extLst>
              <a:ext uri="{FF2B5EF4-FFF2-40B4-BE49-F238E27FC236}">
                <a16:creationId xmlns:a16="http://schemas.microsoft.com/office/drawing/2014/main" id="{17E671A2-F598-443A-8192-30FE1E61D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27767" y="2142525"/>
            <a:ext cx="548640" cy="548640"/>
          </a:xfrm>
          <a:prstGeom prst="rect">
            <a:avLst/>
          </a:prstGeom>
        </p:spPr>
      </p:pic>
      <p:pic>
        <p:nvPicPr>
          <p:cNvPr id="198" name="Picture 197">
            <a:extLst>
              <a:ext uri="{FF2B5EF4-FFF2-40B4-BE49-F238E27FC236}">
                <a16:creationId xmlns:a16="http://schemas.microsoft.com/office/drawing/2014/main" id="{52F26DBD-F409-4281-A493-D5CA750D3A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0723" y="5255825"/>
            <a:ext cx="548640" cy="548640"/>
          </a:xfrm>
          <a:prstGeom prst="rect">
            <a:avLst/>
          </a:prstGeom>
        </p:spPr>
      </p:pic>
      <p:sp>
        <p:nvSpPr>
          <p:cNvPr id="200" name="Arrow: Right 199">
            <a:extLst>
              <a:ext uri="{FF2B5EF4-FFF2-40B4-BE49-F238E27FC236}">
                <a16:creationId xmlns:a16="http://schemas.microsoft.com/office/drawing/2014/main" id="{5DFCB12F-A5F5-4502-9A69-5272F0E0E312}"/>
              </a:ext>
            </a:extLst>
          </p:cNvPr>
          <p:cNvSpPr/>
          <p:nvPr/>
        </p:nvSpPr>
        <p:spPr bwMode="auto">
          <a:xfrm>
            <a:off x="2705722" y="5396645"/>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 name="Rectangle 2">
            <a:extLst>
              <a:ext uri="{FF2B5EF4-FFF2-40B4-BE49-F238E27FC236}">
                <a16:creationId xmlns:a16="http://schemas.microsoft.com/office/drawing/2014/main" id="{032E9B62-38F5-4637-9662-6CE0693BB6A8}"/>
              </a:ext>
            </a:extLst>
          </p:cNvPr>
          <p:cNvSpPr/>
          <p:nvPr/>
        </p:nvSpPr>
        <p:spPr bwMode="auto">
          <a:xfrm>
            <a:off x="2247242" y="6402478"/>
            <a:ext cx="61264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221" name="Arrow: Right 220">
            <a:extLst>
              <a:ext uri="{FF2B5EF4-FFF2-40B4-BE49-F238E27FC236}">
                <a16:creationId xmlns:a16="http://schemas.microsoft.com/office/drawing/2014/main" id="{6EF02887-6965-443D-A18D-50715CE2AE8E}"/>
              </a:ext>
            </a:extLst>
          </p:cNvPr>
          <p:cNvSpPr/>
          <p:nvPr/>
        </p:nvSpPr>
        <p:spPr bwMode="auto">
          <a:xfrm rot="16200000">
            <a:off x="1950662" y="610629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2" name="Rectangle 221">
            <a:extLst>
              <a:ext uri="{FF2B5EF4-FFF2-40B4-BE49-F238E27FC236}">
                <a16:creationId xmlns:a16="http://schemas.microsoft.com/office/drawing/2014/main" id="{ED6E9931-82E9-4F23-B8C8-2D3C9B0A2764}"/>
              </a:ext>
            </a:extLst>
          </p:cNvPr>
          <p:cNvSpPr/>
          <p:nvPr/>
        </p:nvSpPr>
        <p:spPr bwMode="auto">
          <a:xfrm rot="5400000">
            <a:off x="8202953" y="6234174"/>
            <a:ext cx="1828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143" name="TextBox 142">
            <a:extLst>
              <a:ext uri="{FF2B5EF4-FFF2-40B4-BE49-F238E27FC236}">
                <a16:creationId xmlns:a16="http://schemas.microsoft.com/office/drawing/2014/main" id="{6E4944E4-2FB4-476F-B877-891DCF284826}"/>
              </a:ext>
            </a:extLst>
          </p:cNvPr>
          <p:cNvSpPr txBox="1"/>
          <p:nvPr/>
        </p:nvSpPr>
        <p:spPr>
          <a:xfrm>
            <a:off x="3766374" y="2143107"/>
            <a:ext cx="166854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ean Scripts</a:t>
            </a:r>
          </a:p>
        </p:txBody>
      </p:sp>
      <p:pic>
        <p:nvPicPr>
          <p:cNvPr id="146" name="Picture 145">
            <a:extLst>
              <a:ext uri="{FF2B5EF4-FFF2-40B4-BE49-F238E27FC236}">
                <a16:creationId xmlns:a16="http://schemas.microsoft.com/office/drawing/2014/main" id="{494AE1B0-9613-4BF4-97DB-C004AE2256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81518" y="2170033"/>
            <a:ext cx="548640" cy="548640"/>
          </a:xfrm>
          <a:prstGeom prst="rect">
            <a:avLst/>
          </a:prstGeom>
        </p:spPr>
      </p:pic>
      <p:sp>
        <p:nvSpPr>
          <p:cNvPr id="173" name="Arrow: Right 172">
            <a:extLst>
              <a:ext uri="{FF2B5EF4-FFF2-40B4-BE49-F238E27FC236}">
                <a16:creationId xmlns:a16="http://schemas.microsoft.com/office/drawing/2014/main" id="{574C7405-8EB1-491F-8FD2-8DB2E0F5B70B}"/>
              </a:ext>
            </a:extLst>
          </p:cNvPr>
          <p:cNvSpPr/>
          <p:nvPr/>
        </p:nvSpPr>
        <p:spPr bwMode="auto">
          <a:xfrm>
            <a:off x="8760083" y="232293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FB529DF-A3B0-4999-A046-7B86296BA4EC}"/>
              </a:ext>
            </a:extLst>
          </p:cNvPr>
          <p:cNvGrpSpPr/>
          <p:nvPr/>
        </p:nvGrpSpPr>
        <p:grpSpPr>
          <a:xfrm>
            <a:off x="9482415" y="1449227"/>
            <a:ext cx="2221922" cy="704808"/>
            <a:chOff x="2608408" y="799727"/>
            <a:chExt cx="2305374" cy="704808"/>
          </a:xfrm>
        </p:grpSpPr>
        <p:sp>
          <p:nvSpPr>
            <p:cNvPr id="190" name="TextBox 189">
              <a:extLst>
                <a:ext uri="{FF2B5EF4-FFF2-40B4-BE49-F238E27FC236}">
                  <a16:creationId xmlns:a16="http://schemas.microsoft.com/office/drawing/2014/main" id="{9CCFA5AE-F2FB-4B32-9C14-924CEE3B6983}"/>
                </a:ext>
              </a:extLst>
            </p:cNvPr>
            <p:cNvSpPr txBox="1"/>
            <p:nvPr/>
          </p:nvSpPr>
          <p:spPr>
            <a:xfrm>
              <a:off x="2850061" y="799727"/>
              <a:ext cx="2063721"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B)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195" name="Group 194">
              <a:extLst>
                <a:ext uri="{FF2B5EF4-FFF2-40B4-BE49-F238E27FC236}">
                  <a16:creationId xmlns:a16="http://schemas.microsoft.com/office/drawing/2014/main" id="{C89C884E-73B8-423C-8528-E9C4724B3475}"/>
                </a:ext>
              </a:extLst>
            </p:cNvPr>
            <p:cNvGrpSpPr/>
            <p:nvPr/>
          </p:nvGrpSpPr>
          <p:grpSpPr>
            <a:xfrm>
              <a:off x="2608408" y="855146"/>
              <a:ext cx="299426" cy="572464"/>
              <a:chOff x="5586984" y="1582465"/>
              <a:chExt cx="299426" cy="572464"/>
            </a:xfrm>
          </p:grpSpPr>
          <p:sp>
            <p:nvSpPr>
              <p:cNvPr id="196" name="Oval 195">
                <a:extLst>
                  <a:ext uri="{FF2B5EF4-FFF2-40B4-BE49-F238E27FC236}">
                    <a16:creationId xmlns:a16="http://schemas.microsoft.com/office/drawing/2014/main" id="{FBF9BB8D-98BF-4A72-BA35-FDAA044E828C}"/>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7" name="TextBox 196">
                <a:extLst>
                  <a:ext uri="{FF2B5EF4-FFF2-40B4-BE49-F238E27FC236}">
                    <a16:creationId xmlns:a16="http://schemas.microsoft.com/office/drawing/2014/main" id="{BDCB97D8-7229-48E7-A995-C89A6A6255C4}"/>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20" name="Group 219">
            <a:extLst>
              <a:ext uri="{FF2B5EF4-FFF2-40B4-BE49-F238E27FC236}">
                <a16:creationId xmlns:a16="http://schemas.microsoft.com/office/drawing/2014/main" id="{2CF67C24-B2A6-4517-A446-05D5F4919E9A}"/>
              </a:ext>
            </a:extLst>
          </p:cNvPr>
          <p:cNvGrpSpPr/>
          <p:nvPr/>
        </p:nvGrpSpPr>
        <p:grpSpPr>
          <a:xfrm>
            <a:off x="3589067" y="2432441"/>
            <a:ext cx="299426" cy="572464"/>
            <a:chOff x="5586984" y="1582465"/>
            <a:chExt cx="299426" cy="572464"/>
          </a:xfrm>
        </p:grpSpPr>
        <p:sp>
          <p:nvSpPr>
            <p:cNvPr id="223" name="Oval 222">
              <a:extLst>
                <a:ext uri="{FF2B5EF4-FFF2-40B4-BE49-F238E27FC236}">
                  <a16:creationId xmlns:a16="http://schemas.microsoft.com/office/drawing/2014/main" id="{0028B8F9-E278-452E-9F1E-B413C8797FA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4" name="TextBox 223">
              <a:extLst>
                <a:ext uri="{FF2B5EF4-FFF2-40B4-BE49-F238E27FC236}">
                  <a16:creationId xmlns:a16="http://schemas.microsoft.com/office/drawing/2014/main" id="{07C31E70-1B2D-45D6-BB6E-D9224284F923}"/>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25" name="Group 224">
            <a:extLst>
              <a:ext uri="{FF2B5EF4-FFF2-40B4-BE49-F238E27FC236}">
                <a16:creationId xmlns:a16="http://schemas.microsoft.com/office/drawing/2014/main" id="{4EDABD83-E07C-404A-A543-81BB73F9E519}"/>
              </a:ext>
            </a:extLst>
          </p:cNvPr>
          <p:cNvGrpSpPr/>
          <p:nvPr/>
        </p:nvGrpSpPr>
        <p:grpSpPr>
          <a:xfrm>
            <a:off x="3593405" y="2079052"/>
            <a:ext cx="299426" cy="572464"/>
            <a:chOff x="5586984" y="1582465"/>
            <a:chExt cx="299426" cy="572464"/>
          </a:xfrm>
        </p:grpSpPr>
        <p:sp>
          <p:nvSpPr>
            <p:cNvPr id="226" name="Oval 225">
              <a:extLst>
                <a:ext uri="{FF2B5EF4-FFF2-40B4-BE49-F238E27FC236}">
                  <a16:creationId xmlns:a16="http://schemas.microsoft.com/office/drawing/2014/main" id="{79ECB5DE-D4A1-4306-BCAA-E9DA12DA16A6}"/>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7" name="TextBox 226">
              <a:extLst>
                <a:ext uri="{FF2B5EF4-FFF2-40B4-BE49-F238E27FC236}">
                  <a16:creationId xmlns:a16="http://schemas.microsoft.com/office/drawing/2014/main" id="{A2543717-E964-4CCB-963D-C0C7D96346F9}"/>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spTree>
    <p:extLst>
      <p:ext uri="{BB962C8B-B14F-4D97-AF65-F5344CB8AC3E}">
        <p14:creationId xmlns:p14="http://schemas.microsoft.com/office/powerpoint/2010/main" val="256997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160644" y="1004988"/>
            <a:ext cx="11870712" cy="5368503"/>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ownload </a:t>
            </a:r>
            <a:r>
              <a:rPr kumimoji="0" lang="en-US" sz="16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hlinkClick r:id="rId4"/>
              </a:rPr>
              <a:t>DWScripter</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from </a:t>
            </a:r>
            <a:r>
              <a:rPr lang="en-US" sz="1600" dirty="0" err="1">
                <a:gradFill>
                  <a:gsLst>
                    <a:gs pos="0">
                      <a:srgbClr val="292929"/>
                    </a:gs>
                    <a:gs pos="86000">
                      <a:srgbClr val="292929"/>
                    </a:gs>
                  </a:gsLst>
                  <a:lin ang="5400000" scaled="0"/>
                </a:gradFill>
                <a:latin typeface="Segoe UI"/>
              </a:rPr>
              <a:t>github</a:t>
            </a:r>
            <a:r>
              <a:rPr lang="en-US" sz="1600" dirty="0">
                <a:gradFill>
                  <a:gsLst>
                    <a:gs pos="0">
                      <a:srgbClr val="292929"/>
                    </a:gs>
                    <a:gs pos="86000">
                      <a:srgbClr val="292929"/>
                    </a:gs>
                  </a:gsLst>
                  <a:lin ang="5400000" scaled="0"/>
                </a:gradFill>
                <a:latin typeface="Segoe UI"/>
              </a:rPr>
              <a:t> and place the exe on the machine to run the following script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Create </a:t>
            </a:r>
            <a:r>
              <a:rPr lang="en-US" sz="1600" dirty="0">
                <a:gradFill>
                  <a:gsLst>
                    <a:gs pos="0">
                      <a:srgbClr val="292929"/>
                    </a:gs>
                    <a:gs pos="86000">
                      <a:srgbClr val="292929"/>
                    </a:gs>
                  </a:gsLst>
                  <a:lin ang="5400000" scaled="0"/>
                </a:gradFill>
              </a:rPr>
              <a:t>config files for </a:t>
            </a:r>
            <a:r>
              <a:rPr lang="en-US" sz="1600" dirty="0" err="1">
                <a:gradFill>
                  <a:gsLst>
                    <a:gs pos="0">
                      <a:srgbClr val="292929"/>
                    </a:gs>
                    <a:gs pos="86000">
                      <a:srgbClr val="292929"/>
                    </a:gs>
                  </a:gsLst>
                  <a:lin ang="5400000" scaled="0"/>
                </a:gradFill>
              </a:rPr>
              <a:t>ScriptMPPObjectsDriver</a:t>
            </a:r>
            <a:r>
              <a:rPr lang="en-US" sz="1600" dirty="0">
                <a:gradFill>
                  <a:gsLst>
                    <a:gs pos="0">
                      <a:srgbClr val="292929"/>
                    </a:gs>
                    <a:gs pos="86000">
                      <a:srgbClr val="292929"/>
                    </a:gs>
                  </a:gsLst>
                  <a:lin ang="5400000" scaled="0"/>
                </a:gradFill>
              </a:rPr>
              <a:t>.  This is a CSV file containing the following column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startAt="2"/>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dit Line </a:t>
            </a:r>
            <a:r>
              <a:rPr lang="en-US" sz="1600" dirty="0">
                <a:gradFill>
                  <a:gsLst>
                    <a:gs pos="0">
                      <a:srgbClr val="292929"/>
                    </a:gs>
                    <a:gs pos="86000">
                      <a:srgbClr val="292929"/>
                    </a:gs>
                  </a:gsLst>
                  <a:lin ang="5400000" scaled="0"/>
                </a:gradFill>
                <a:latin typeface="Segoe UI"/>
              </a:rPr>
              <a:t>23</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of ScriptObjectsToDSQL.ps1 to </a:t>
            </a:r>
            <a:r>
              <a:rPr lang="en-US" sz="1600" dirty="0">
                <a:gradFill>
                  <a:gsLst>
                    <a:gs pos="0">
                      <a:srgbClr val="292929"/>
                    </a:gs>
                    <a:gs pos="86000">
                      <a:srgbClr val="292929"/>
                    </a:gs>
                  </a:gsLst>
                  <a:lin ang="5400000" scaled="0"/>
                </a:gradFill>
                <a:latin typeface="Segoe UI"/>
              </a:rPr>
              <a:t>identify the location of the dwScripter.exe:</a:t>
            </a:r>
          </a:p>
          <a:p>
            <a:pPr marL="0" indent="0">
              <a:buNone/>
            </a:pPr>
            <a:r>
              <a:rPr lang="en-US" sz="1600" dirty="0">
                <a:gradFill>
                  <a:gsLst>
                    <a:gs pos="0">
                      <a:srgbClr val="292929"/>
                    </a:gs>
                    <a:gs pos="86000">
                      <a:srgbClr val="292929"/>
                    </a:gs>
                  </a:gsLst>
                  <a:lin ang="5400000" scaled="0"/>
                </a:gradFill>
                <a:latin typeface="Segoe UI"/>
              </a:rPr>
              <a:t>             </a:t>
            </a:r>
            <a:r>
              <a:rPr lang="en-US" sz="1100" dirty="0">
                <a:solidFill>
                  <a:schemeClr val="accent1">
                    <a:lumMod val="75000"/>
                    <a:lumOff val="25000"/>
                  </a:schemeClr>
                </a:solidFill>
              </a:rPr>
              <a:t>$</a:t>
            </a:r>
            <a:r>
              <a:rPr lang="en-US" sz="1100" dirty="0" err="1">
                <a:solidFill>
                  <a:schemeClr val="accent1">
                    <a:lumMod val="75000"/>
                    <a:lumOff val="25000"/>
                  </a:schemeClr>
                </a:solidFill>
              </a:rPr>
              <a:t>cmd</a:t>
            </a:r>
            <a:r>
              <a:rPr lang="en-US" sz="1100" dirty="0">
                <a:solidFill>
                  <a:schemeClr val="accent1">
                    <a:lumMod val="75000"/>
                    <a:lumOff val="25000"/>
                  </a:schemeClr>
                </a:solidFill>
              </a:rPr>
              <a:t> = </a:t>
            </a:r>
            <a:r>
              <a:rPr lang="en-US" sz="1100" b="1" dirty="0">
                <a:solidFill>
                  <a:schemeClr val="accent1">
                    <a:lumMod val="75000"/>
                    <a:lumOff val="25000"/>
                  </a:schemeClr>
                </a:solidFill>
                <a:highlight>
                  <a:srgbClr val="FFFF00"/>
                </a:highlight>
              </a:rPr>
              <a:t>'C:\</a:t>
            </a:r>
            <a:r>
              <a:rPr lang="en-US" sz="1100" b="1" dirty="0" err="1">
                <a:solidFill>
                  <a:schemeClr val="accent1">
                    <a:lumMod val="75000"/>
                    <a:lumOff val="25000"/>
                  </a:schemeClr>
                </a:solidFill>
                <a:highlight>
                  <a:srgbClr val="FFFF00"/>
                </a:highlight>
              </a:rPr>
              <a:t>PDWScripter</a:t>
            </a:r>
            <a:r>
              <a:rPr lang="en-US" sz="1100" b="1" dirty="0">
                <a:solidFill>
                  <a:schemeClr val="accent1">
                    <a:lumMod val="75000"/>
                    <a:lumOff val="25000"/>
                  </a:schemeClr>
                </a:solidFill>
                <a:highlight>
                  <a:srgbClr val="FFFF00"/>
                </a:highlight>
              </a:rPr>
              <a:t>\dwScripter.exe </a:t>
            </a:r>
            <a:r>
              <a:rPr lang="en-US" sz="1100" dirty="0">
                <a:solidFill>
                  <a:schemeClr val="accent1">
                    <a:lumMod val="75000"/>
                    <a:lumOff val="25000"/>
                  </a:schemeClr>
                </a:solidFill>
              </a:rPr>
              <a:t>-S:"' + $</a:t>
            </a:r>
            <a:r>
              <a:rPr lang="en-US" sz="1100" dirty="0" err="1">
                <a:solidFill>
                  <a:schemeClr val="accent1">
                    <a:lumMod val="75000"/>
                    <a:lumOff val="25000"/>
                  </a:schemeClr>
                </a:solidFill>
              </a:rPr>
              <a:t>ServerName</a:t>
            </a:r>
            <a:r>
              <a:rPr lang="en-US" sz="1100" dirty="0">
                <a:solidFill>
                  <a:schemeClr val="accent1">
                    <a:lumMod val="75000"/>
                    <a:lumOff val="25000"/>
                  </a:schemeClr>
                </a:solidFill>
              </a:rPr>
              <a:t> + '" -D:' + $</a:t>
            </a:r>
            <a:r>
              <a:rPr lang="en-US" sz="1100" dirty="0" err="1">
                <a:solidFill>
                  <a:schemeClr val="accent1">
                    <a:lumMod val="75000"/>
                    <a:lumOff val="25000"/>
                  </a:schemeClr>
                </a:solidFill>
              </a:rPr>
              <a:t>DatabaseName</a:t>
            </a:r>
            <a:endParaRPr lang="en-US" sz="1600" dirty="0">
              <a:solidFill>
                <a:schemeClr val="accent1">
                  <a:lumMod val="75000"/>
                  <a:lumOff val="25000"/>
                </a:schemeClr>
              </a:solidFill>
              <a:latin typeface="Segoe UI"/>
            </a:endParaRPr>
          </a:p>
          <a:p>
            <a:pPr marL="0" indent="0">
              <a:buNone/>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3.          Run ScriptMPPObjectsDriver.ps1 and 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4083108428"/>
              </p:ext>
            </p:extLst>
          </p:nvPr>
        </p:nvGraphicFramePr>
        <p:xfrm>
          <a:off x="976955" y="1679985"/>
          <a:ext cx="10528779" cy="3511570"/>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dirty="0">
                          <a:solidFill>
                            <a:schemeClr val="bg1">
                              <a:lumMod val="95000"/>
                            </a:schemeClr>
                          </a:solidFill>
                        </a:rPr>
                        <a:t>Parameter</a:t>
                      </a:r>
                    </a:p>
                  </a:txBody>
                  <a:tcPr marL="121920" marR="121920" marT="60960" marB="60960" anchor="ctr"/>
                </a:tc>
                <a:tc>
                  <a:txBody>
                    <a:bodyPr/>
                    <a:lstStyle/>
                    <a:p>
                      <a:pPr algn="ctr"/>
                      <a:r>
                        <a:rPr lang="en-US" sz="800" dirty="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dirty="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dirty="0"/>
                        <a:t>Name of the SQLDW/APS(PDW)</a:t>
                      </a:r>
                    </a:p>
                  </a:txBody>
                  <a:tcPr marL="121920" marR="121920" marT="60960" marB="60960" anchor="ctr"/>
                </a:tc>
                <a:tc>
                  <a:txBody>
                    <a:bodyPr/>
                    <a:lstStyle/>
                    <a:p>
                      <a:r>
                        <a:rPr lang="en-US" sz="900" dirty="0"/>
                        <a:t>Sqldwdb.database.windows.net  or “10.111.###.333” (APS Name or IP address) </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err="1"/>
                        <a:t>WorkMode</a:t>
                      </a:r>
                      <a:endParaRPr lang="en-US" sz="900"/>
                    </a:p>
                  </a:txBody>
                  <a:tcPr marL="121920" marR="121920" marT="60960" marB="60960" anchor="ctr"/>
                </a:tc>
                <a:tc>
                  <a:txBody>
                    <a:bodyPr/>
                    <a:lstStyle/>
                    <a:p>
                      <a:r>
                        <a:rPr lang="en-US" sz="900"/>
                        <a:t>DDL – script the DDL for the tables.</a:t>
                      </a:r>
                    </a:p>
                    <a:p>
                      <a:r>
                        <a:rPr lang="en-US" sz="900"/>
                        <a:t>DML – script the SP/Views</a:t>
                      </a:r>
                    </a:p>
                  </a:txBody>
                  <a:tcPr marL="121920" marR="121920" marT="60960" marB="60960" anchor="ctr"/>
                </a:tc>
                <a:tc>
                  <a:txBody>
                    <a:bodyPr/>
                    <a:lstStyle/>
                    <a:p>
                      <a:r>
                        <a:rPr lang="en-US" sz="900" dirty="0" err="1"/>
                        <a:t>DDL</a:t>
                      </a:r>
                      <a:r>
                        <a:rPr lang="en-US" sz="900" dirty="0"/>
                        <a:t> or </a:t>
                      </a:r>
                      <a:r>
                        <a:rPr lang="en-US" sz="900" dirty="0" err="1"/>
                        <a:t>DML</a:t>
                      </a:r>
                      <a:endParaRPr lang="en-US" sz="900" dirty="0"/>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OutputFolderPath</a:t>
                      </a:r>
                      <a:endParaRPr lang="en-US" sz="900"/>
                    </a:p>
                  </a:txBody>
                  <a:tcPr marL="121920" marR="121920" marT="60960" marB="60960" anchor="ctr"/>
                </a:tc>
                <a:tc>
                  <a:txBody>
                    <a:bodyPr/>
                    <a:lstStyle/>
                    <a:p>
                      <a:r>
                        <a:rPr lang="en-US" sz="900"/>
                        <a:t>Path where the .sql file should be saved.  Must have “\” on end.</a:t>
                      </a:r>
                    </a:p>
                  </a:txBody>
                  <a:tcPr marL="121920" marR="121920" marT="60960" marB="60960" anchor="ctr"/>
                </a:tc>
                <a:tc>
                  <a:txBody>
                    <a:bodyPr/>
                    <a:lstStyle/>
                    <a:p>
                      <a:r>
                        <a:rPr lang="en-US" sz="900"/>
                        <a:t>c:\temp\APS_Scripts\junk\</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Mode</a:t>
                      </a:r>
                    </a:p>
                  </a:txBody>
                  <a:tcPr marL="121920" marR="121920" marT="60960" marB="60960" anchor="ctr"/>
                </a:tc>
                <a:tc>
                  <a:txBody>
                    <a:bodyPr/>
                    <a:lstStyle/>
                    <a:p>
                      <a:r>
                        <a:rPr lang="en-US" sz="900"/>
                        <a:t>PDWScripter variable for Mode</a:t>
                      </a:r>
                    </a:p>
                  </a:txBody>
                  <a:tcPr marL="121920" marR="121920" marT="60960" marB="60960" anchor="ctr"/>
                </a:tc>
                <a:tc>
                  <a:txBody>
                    <a:bodyPr/>
                    <a:lstStyle/>
                    <a:p>
                      <a:r>
                        <a:rPr lang="en-US" sz="900" dirty="0"/>
                        <a:t>Full</a:t>
                      </a:r>
                    </a:p>
                  </a:txBody>
                  <a:tcPr marL="121920" marR="121920" marT="60960" marB="60960" anchor="ctr"/>
                </a:tc>
                <a:extLst>
                  <a:ext uri="{0D108BD9-81ED-4DB2-BD59-A6C34878D82A}">
                    <a16:rowId xmlns:a16="http://schemas.microsoft.com/office/drawing/2014/main" val="3422728516"/>
                  </a:ext>
                </a:extLst>
              </a:tr>
              <a:tr h="365760">
                <a:tc>
                  <a:txBody>
                    <a:bodyPr/>
                    <a:lstStyle/>
                    <a:p>
                      <a:r>
                        <a:rPr lang="en-US" sz="900" err="1"/>
                        <a:t>ObjectName</a:t>
                      </a:r>
                      <a:endParaRPr lang="en-US" sz="900"/>
                    </a:p>
                  </a:txBody>
                  <a:tcPr marL="121920" marR="121920" marT="60960" marB="60960" anchor="ctr"/>
                </a:tc>
                <a:tc>
                  <a:txBody>
                    <a:bodyPr/>
                    <a:lstStyle/>
                    <a:p>
                      <a:r>
                        <a:rPr lang="en-US" sz="900"/>
                        <a:t>Name of the object to script.  This must include the schema.  If the schema is not added, </a:t>
                      </a:r>
                      <a:r>
                        <a:rPr lang="en-US" sz="900" err="1"/>
                        <a:t>dbo</a:t>
                      </a:r>
                      <a:r>
                        <a:rPr lang="en-US" sz="900"/>
                        <a:t> is assumed.  Should you want all the objects in all schemas the value entered should be %.</a:t>
                      </a:r>
                      <a:r>
                        <a:rPr lang="en-US" sz="900" err="1"/>
                        <a:t>objectName</a:t>
                      </a:r>
                      <a:endParaRPr lang="en-US" sz="900"/>
                    </a:p>
                  </a:txBody>
                  <a:tcPr marL="121920" marR="121920" marT="60960" marB="60960" anchor="ctr"/>
                </a:tc>
                <a:tc>
                  <a:txBody>
                    <a:bodyPr/>
                    <a:lstStyle/>
                    <a:p>
                      <a:r>
                        <a:rPr lang="en-US" sz="900" err="1"/>
                        <a:t>Dbo.DimAccount</a:t>
                      </a:r>
                      <a:endParaRPr lang="en-US" sz="900"/>
                    </a:p>
                    <a:p>
                      <a:r>
                        <a:rPr lang="en-US" sz="900" err="1"/>
                        <a:t>Dev.DimAccount</a:t>
                      </a:r>
                      <a:endParaRPr lang="en-US" sz="900"/>
                    </a:p>
                    <a:p>
                      <a:r>
                        <a:rPr lang="en-US" sz="900"/>
                        <a:t>%.</a:t>
                      </a:r>
                      <a:r>
                        <a:rPr lang="en-US" sz="900" err="1"/>
                        <a:t>DimAccount</a:t>
                      </a:r>
                      <a:r>
                        <a:rPr lang="en-US" sz="900"/>
                        <a:t> – if there is more than object named </a:t>
                      </a:r>
                      <a:r>
                        <a:rPr lang="en-US" sz="900" err="1"/>
                        <a:t>DimAccount</a:t>
                      </a:r>
                      <a:r>
                        <a:rPr lang="en-US" sz="900"/>
                        <a:t> in 2 different schemas then the % will script both.</a:t>
                      </a:r>
                    </a:p>
                  </a:txBody>
                  <a:tcPr marL="121920" marR="121920" marT="60960" marB="60960" anchor="ctr"/>
                </a:tc>
                <a:extLst>
                  <a:ext uri="{0D108BD9-81ED-4DB2-BD59-A6C34878D82A}">
                    <a16:rowId xmlns:a16="http://schemas.microsoft.com/office/drawing/2014/main" val="508230191"/>
                  </a:ext>
                </a:extLst>
              </a:tr>
              <a:tr h="288269">
                <a:tc>
                  <a:txBody>
                    <a:bodyPr/>
                    <a:lstStyle/>
                    <a:p>
                      <a:r>
                        <a:rPr lang="en-US" sz="900" dirty="0" err="1"/>
                        <a:t>ObjectToScript</a:t>
                      </a:r>
                      <a:endParaRPr lang="en-US" sz="900" dirty="0"/>
                    </a:p>
                  </a:txBody>
                  <a:tcPr marL="121920" marR="121920" marT="60960" marB="60960" anchor="ctr"/>
                </a:tc>
                <a:tc>
                  <a:txBody>
                    <a:bodyPr/>
                    <a:lstStyle/>
                    <a:p>
                      <a:r>
                        <a:rPr lang="en-US" sz="900">
                          <a:solidFill>
                            <a:schemeClr val="tx1"/>
                          </a:solidFill>
                        </a:rPr>
                        <a:t>Used in logging only</a:t>
                      </a:r>
                    </a:p>
                  </a:txBody>
                  <a:tcPr marL="121920" marR="121920" marT="60960" marB="60960" anchor="ctr"/>
                </a:tc>
                <a:tc>
                  <a:txBody>
                    <a:bodyPr/>
                    <a:lstStyle/>
                    <a:p>
                      <a:r>
                        <a:rPr lang="en-US" sz="900" dirty="0"/>
                        <a:t>SP, View, Table</a:t>
                      </a:r>
                    </a:p>
                  </a:txBody>
                  <a:tcPr marL="121920" marR="121920" marT="60960" marB="60960" anchor="ctr"/>
                </a:tc>
                <a:extLst>
                  <a:ext uri="{0D108BD9-81ED-4DB2-BD59-A6C34878D82A}">
                    <a16:rowId xmlns:a16="http://schemas.microsoft.com/office/drawing/2014/main" val="4249797493"/>
                  </a:ext>
                </a:extLst>
              </a:tr>
            </a:tbl>
          </a:graphicData>
        </a:graphic>
      </p:graphicFrame>
    </p:spTree>
    <p:extLst>
      <p:ext uri="{BB962C8B-B14F-4D97-AF65-F5344CB8AC3E}">
        <p14:creationId xmlns:p14="http://schemas.microsoft.com/office/powerpoint/2010/main" val="419361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CVS Script Config File(s)</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ScriptMPPObjec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Calibri" panose="020F0502020204030204"/>
              </a:rPr>
              <a:t>Prompts for </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Location of the Config File(s)</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Security Setup (Integrated or not)</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MPP (APS) system User ID, and Password</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10055658" y="2906953"/>
            <a:ext cx="1724011"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P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View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6069637" y="3800397"/>
            <a:ext cx="3359035"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riptObjectsTodSQL.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rPr>
              <a:t>Executes </a:t>
            </a:r>
            <a:r>
              <a:rPr kumimoji="0" lang="en-US" sz="1200" b="1" i="0" u="none" strike="noStrike" kern="0" cap="none" spc="0" normalizeH="0" baseline="0" noProof="0" err="1">
                <a:ln>
                  <a:noFill/>
                </a:ln>
                <a:solidFill>
                  <a:srgbClr val="292929"/>
                </a:solidFill>
                <a:effectLst/>
                <a:uLnTx/>
                <a:uFillTx/>
              </a:rPr>
              <a:t>PDWScripter</a:t>
            </a:r>
            <a:endParaRPr kumimoji="0" lang="en-US" sz="1200" b="1" i="0" u="none" strike="noStrike" kern="0" cap="none" spc="0" normalizeH="0" baseline="0" noProof="0">
              <a:ln>
                <a:noFill/>
              </a:ln>
              <a:solidFill>
                <a:srgbClr val="292929"/>
              </a:solidFill>
              <a:effectLst/>
              <a:uLnTx/>
              <a:uFillTx/>
            </a:endParaRPr>
          </a:p>
        </p:txBody>
      </p:sp>
      <p:sp>
        <p:nvSpPr>
          <p:cNvPr id="51" name="Speech Bubble: Rectangle 50">
            <a:extLst>
              <a:ext uri="{FF2B5EF4-FFF2-40B4-BE49-F238E27FC236}">
                <a16:creationId xmlns:a16="http://schemas.microsoft.com/office/drawing/2014/main" id="{12107BF8-FF65-49F7-B19C-A80068D273C3}"/>
              </a:ext>
            </a:extLst>
          </p:cNvPr>
          <p:cNvSpPr/>
          <p:nvPr/>
        </p:nvSpPr>
        <p:spPr>
          <a:xfrm>
            <a:off x="1051367" y="4325419"/>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8" y="2253236"/>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APS (PDW)</a:t>
            </a:r>
          </a:p>
        </p:txBody>
      </p:sp>
      <p:pic>
        <p:nvPicPr>
          <p:cNvPr id="3" name="Picture 2">
            <a:extLst>
              <a:ext uri="{FF2B5EF4-FFF2-40B4-BE49-F238E27FC236}">
                <a16:creationId xmlns:a16="http://schemas.microsoft.com/office/drawing/2014/main" id="{DEA86108-C1B2-467B-9678-17D3D9235741}"/>
              </a:ext>
            </a:extLst>
          </p:cNvPr>
          <p:cNvPicPr>
            <a:picLocks noChangeAspect="1"/>
          </p:cNvPicPr>
          <p:nvPr/>
        </p:nvPicPr>
        <p:blipFill>
          <a:blip r:embed="rId8"/>
          <a:stretch>
            <a:fillRect/>
          </a:stretch>
        </p:blipFill>
        <p:spPr>
          <a:xfrm>
            <a:off x="501316" y="5096819"/>
            <a:ext cx="11394519" cy="1194460"/>
          </a:xfrm>
          <a:prstGeom prst="rect">
            <a:avLst/>
          </a:prstGeom>
        </p:spPr>
      </p:pic>
      <p:sp>
        <p:nvSpPr>
          <p:cNvPr id="37" name="Speech Bubble: Rectangle 36">
            <a:extLst>
              <a:ext uri="{FF2B5EF4-FFF2-40B4-BE49-F238E27FC236}">
                <a16:creationId xmlns:a16="http://schemas.microsoft.com/office/drawing/2014/main" id="{0028D65B-0110-4C88-B4C2-C4A5051CC763}"/>
              </a:ext>
            </a:extLst>
          </p:cNvPr>
          <p:cNvSpPr/>
          <p:nvPr/>
        </p:nvSpPr>
        <p:spPr>
          <a:xfrm>
            <a:off x="7927526" y="4277616"/>
            <a:ext cx="2434027" cy="694835"/>
          </a:xfrm>
          <a:prstGeom prst="wedgeRectCallout">
            <a:avLst>
              <a:gd name="adj1" fmla="val -150609"/>
              <a:gd name="adj2" fmla="val 86130"/>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of the input files for the next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021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3600">
                <a:solidFill>
                  <a:srgbClr val="FFFFFF"/>
                </a:solidFill>
                <a:latin typeface="Segoe UI Light" panose="020B0502040204020203" pitchFamily="34" charset="0"/>
                <a:cs typeface="Segoe UI Light" panose="020B0502040204020203" pitchFamily="34" charset="0"/>
              </a:rPr>
              <a:t>2) Clean Scripts</a:t>
            </a:r>
            <a:endPar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pic>
        <p:nvPicPr>
          <p:cNvPr id="3" name="Picture 2">
            <a:extLst>
              <a:ext uri="{FF2B5EF4-FFF2-40B4-BE49-F238E27FC236}">
                <a16:creationId xmlns:a16="http://schemas.microsoft.com/office/drawing/2014/main" id="{DA8063BF-D536-4BD0-9853-76C830AFCDDE}"/>
              </a:ext>
            </a:extLst>
          </p:cNvPr>
          <p:cNvPicPr>
            <a:picLocks noChangeAspect="1"/>
          </p:cNvPicPr>
          <p:nvPr/>
        </p:nvPicPr>
        <p:blipFill>
          <a:blip r:embed="rId4"/>
          <a:stretch>
            <a:fillRect/>
          </a:stretch>
        </p:blipFill>
        <p:spPr>
          <a:xfrm>
            <a:off x="6902370" y="2391693"/>
            <a:ext cx="4549577" cy="3092545"/>
          </a:xfrm>
          <a:prstGeom prst="rect">
            <a:avLst/>
          </a:prstGeom>
        </p:spPr>
      </p:pic>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624402903"/>
              </p:ext>
            </p:extLst>
          </p:nvPr>
        </p:nvGraphicFramePr>
        <p:xfrm>
          <a:off x="379044" y="2498576"/>
          <a:ext cx="6349746" cy="2788920"/>
        </p:xfrm>
        <a:graphic>
          <a:graphicData uri="http://schemas.openxmlformats.org/drawingml/2006/table">
            <a:tbl>
              <a:tblPr firstRow="1" bandRow="1">
                <a:tableStyleId>{5C22544A-7EE6-4342-B048-85BDC9FD1C3A}</a:tableStyleId>
              </a:tblPr>
              <a:tblGrid>
                <a:gridCol w="1038707">
                  <a:extLst>
                    <a:ext uri="{9D8B030D-6E8A-4147-A177-3AD203B41FA5}">
                      <a16:colId xmlns:a16="http://schemas.microsoft.com/office/drawing/2014/main" val="265382154"/>
                    </a:ext>
                  </a:extLst>
                </a:gridCol>
                <a:gridCol w="1269263">
                  <a:extLst>
                    <a:ext uri="{9D8B030D-6E8A-4147-A177-3AD203B41FA5}">
                      <a16:colId xmlns:a16="http://schemas.microsoft.com/office/drawing/2014/main" val="3323861145"/>
                    </a:ext>
                  </a:extLst>
                </a:gridCol>
                <a:gridCol w="4041776">
                  <a:extLst>
                    <a:ext uri="{9D8B030D-6E8A-4147-A177-3AD203B41FA5}">
                      <a16:colId xmlns:a16="http://schemas.microsoft.com/office/drawing/2014/main" val="1032109979"/>
                    </a:ext>
                  </a:extLst>
                </a:gridCol>
              </a:tblGrid>
              <a:tr h="0">
                <a:tc>
                  <a:txBody>
                    <a:bodyPr/>
                    <a:lstStyle/>
                    <a:p>
                      <a:r>
                        <a:rPr lang="en-US" sz="1400"/>
                        <a:t>Text</a:t>
                      </a:r>
                    </a:p>
                  </a:txBody>
                  <a:tcPr/>
                </a:tc>
                <a:tc>
                  <a:txBody>
                    <a:bodyPr/>
                    <a:lstStyle/>
                    <a:p>
                      <a:r>
                        <a:rPr lang="en-US" sz="1400"/>
                        <a:t>Replace with</a:t>
                      </a:r>
                    </a:p>
                  </a:txBody>
                  <a:tcPr/>
                </a:tc>
                <a:tc>
                  <a:txBody>
                    <a:bodyPr/>
                    <a:lstStyle/>
                    <a:p>
                      <a:r>
                        <a:rPr lang="en-US" sz="1400"/>
                        <a:t>Description</a:t>
                      </a:r>
                    </a:p>
                  </a:txBody>
                  <a:tcPr/>
                </a:tc>
                <a:extLst>
                  <a:ext uri="{0D108BD9-81ED-4DB2-BD59-A6C34878D82A}">
                    <a16:rowId xmlns:a16="http://schemas.microsoft.com/office/drawing/2014/main" val="270697936"/>
                  </a:ext>
                </a:extLst>
              </a:tr>
              <a:tr h="0">
                <a:tc>
                  <a:txBody>
                    <a:bodyPr/>
                    <a:lstStyle/>
                    <a:p>
                      <a:r>
                        <a:rPr lang="en-US" sz="1100"/>
                        <a:t>-- Comments</a:t>
                      </a:r>
                    </a:p>
                  </a:txBody>
                  <a:tcPr/>
                </a:tc>
                <a:tc>
                  <a:txBody>
                    <a:bodyPr/>
                    <a:lstStyle/>
                    <a:p>
                      <a:r>
                        <a:rPr lang="en-US" sz="1100"/>
                        <a:t>Delete</a:t>
                      </a:r>
                    </a:p>
                  </a:txBody>
                  <a:tcPr/>
                </a:tc>
                <a:tc>
                  <a:txBody>
                    <a:bodyPr/>
                    <a:lstStyle/>
                    <a:p>
                      <a:r>
                        <a:rPr lang="en-US" sz="1100"/>
                        <a:t>No need to have comments in the Create Table statement </a:t>
                      </a:r>
                    </a:p>
                  </a:txBody>
                  <a:tcPr/>
                </a:tc>
                <a:extLst>
                  <a:ext uri="{0D108BD9-81ED-4DB2-BD59-A6C34878D82A}">
                    <a16:rowId xmlns:a16="http://schemas.microsoft.com/office/drawing/2014/main" val="2451776884"/>
                  </a:ext>
                </a:extLst>
              </a:tr>
              <a:tr h="0">
                <a:tc>
                  <a:txBody>
                    <a:bodyPr/>
                    <a:lstStyle/>
                    <a:p>
                      <a:r>
                        <a:rPr lang="en-US" sz="1100"/>
                        <a:t>Use DBName</a:t>
                      </a:r>
                    </a:p>
                  </a:txBody>
                  <a:tcPr/>
                </a:tc>
                <a:tc>
                  <a:txBody>
                    <a:bodyPr/>
                    <a:lstStyle/>
                    <a:p>
                      <a:r>
                        <a:rPr lang="en-US" sz="1100"/>
                        <a:t>Delete</a:t>
                      </a:r>
                    </a:p>
                  </a:txBody>
                  <a:tcPr/>
                </a:tc>
                <a:tc>
                  <a:txBody>
                    <a:bodyPr/>
                    <a:lstStyle/>
                    <a:p>
                      <a:r>
                        <a:rPr lang="en-US" sz="1100"/>
                        <a:t>SQLDW does not support USE</a:t>
                      </a:r>
                    </a:p>
                  </a:txBody>
                  <a:tcPr/>
                </a:tc>
                <a:extLst>
                  <a:ext uri="{0D108BD9-81ED-4DB2-BD59-A6C34878D82A}">
                    <a16:rowId xmlns:a16="http://schemas.microsoft.com/office/drawing/2014/main" val="2103652636"/>
                  </a:ext>
                </a:extLst>
              </a:tr>
              <a:tr h="0">
                <a:tc>
                  <a:txBody>
                    <a:bodyPr/>
                    <a:lstStyle/>
                    <a:p>
                      <a:r>
                        <a:rPr lang="en-US" sz="1100"/>
                        <a:t>GO</a:t>
                      </a:r>
                    </a:p>
                  </a:txBody>
                  <a:tcPr/>
                </a:tc>
                <a:tc>
                  <a:txBody>
                    <a:bodyPr/>
                    <a:lstStyle/>
                    <a:p>
                      <a:r>
                        <a:rPr lang="en-US" sz="1100"/>
                        <a:t>Delete</a:t>
                      </a:r>
                    </a:p>
                  </a:txBody>
                  <a:tcPr/>
                </a:tc>
                <a:tc>
                  <a:txBody>
                    <a:bodyPr/>
                    <a:lstStyle/>
                    <a:p>
                      <a:r>
                        <a:rPr lang="en-US" sz="1100"/>
                        <a:t>No need for the GO statement</a:t>
                      </a:r>
                    </a:p>
                  </a:txBody>
                  <a:tcPr/>
                </a:tc>
                <a:extLst>
                  <a:ext uri="{0D108BD9-81ED-4DB2-BD59-A6C34878D82A}">
                    <a16:rowId xmlns:a16="http://schemas.microsoft.com/office/drawing/2014/main" val="64533101"/>
                  </a:ext>
                </a:extLst>
              </a:tr>
              <a:tr h="0">
                <a:tc>
                  <a:txBody>
                    <a:bodyPr/>
                    <a:lstStyle/>
                    <a:p>
                      <a:r>
                        <a:rPr lang="en-US" sz="1100"/>
                        <a:t>Create Schema</a:t>
                      </a:r>
                    </a:p>
                  </a:txBody>
                  <a:tcPr/>
                </a:tc>
                <a:tc>
                  <a:txBody>
                    <a:bodyPr/>
                    <a:lstStyle/>
                    <a:p>
                      <a:r>
                        <a:rPr lang="en-US" sz="1100"/>
                        <a:t>Delete</a:t>
                      </a:r>
                    </a:p>
                  </a:txBody>
                  <a:tcPr/>
                </a:tc>
                <a:tc>
                  <a:txBody>
                    <a:bodyPr/>
                    <a:lstStyle/>
                    <a:p>
                      <a:r>
                        <a:rPr lang="en-US" sz="1100"/>
                        <a:t>These do not need to be created in every table.  </a:t>
                      </a:r>
                    </a:p>
                  </a:txBody>
                  <a:tcPr/>
                </a:tc>
                <a:extLst>
                  <a:ext uri="{0D108BD9-81ED-4DB2-BD59-A6C34878D82A}">
                    <a16:rowId xmlns:a16="http://schemas.microsoft.com/office/drawing/2014/main" val="539184790"/>
                  </a:ext>
                </a:extLst>
              </a:tr>
              <a:tr h="0">
                <a:tc>
                  <a:txBody>
                    <a:bodyPr/>
                    <a:lstStyle/>
                    <a:p>
                      <a:r>
                        <a:rPr lang="en-US" sz="1100"/>
                        <a:t>Create Index</a:t>
                      </a:r>
                    </a:p>
                  </a:txBody>
                  <a:tcPr/>
                </a:tc>
                <a:tc>
                  <a:txBody>
                    <a:bodyPr/>
                    <a:lstStyle/>
                    <a:p>
                      <a:r>
                        <a:rPr lang="en-US" sz="1100"/>
                        <a:t>Move to separate script</a:t>
                      </a:r>
                    </a:p>
                  </a:txBody>
                  <a:tcPr/>
                </a:tc>
                <a:tc>
                  <a:txBody>
                    <a:bodyPr/>
                    <a:lstStyle/>
                    <a:p>
                      <a:r>
                        <a:rPr lang="en-US" sz="1100"/>
                        <a:t>Create Index statements should be run after the initial load of data has occurred</a:t>
                      </a:r>
                    </a:p>
                  </a:txBody>
                  <a:tcPr/>
                </a:tc>
                <a:extLst>
                  <a:ext uri="{0D108BD9-81ED-4DB2-BD59-A6C34878D82A}">
                    <a16:rowId xmlns:a16="http://schemas.microsoft.com/office/drawing/2014/main" val="1292222764"/>
                  </a:ext>
                </a:extLst>
              </a:tr>
              <a:tr h="0">
                <a:tc>
                  <a:txBody>
                    <a:bodyPr/>
                    <a:lstStyle/>
                    <a:p>
                      <a:r>
                        <a:rPr lang="en-US" sz="1100"/>
                        <a:t>Create Statistics</a:t>
                      </a:r>
                    </a:p>
                  </a:txBody>
                  <a:tcPr/>
                </a:tc>
                <a:tc>
                  <a:txBody>
                    <a:bodyPr/>
                    <a:lstStyle/>
                    <a:p>
                      <a:r>
                        <a:rPr lang="en-US" sz="1100"/>
                        <a:t>Move to separate script</a:t>
                      </a:r>
                    </a:p>
                  </a:txBody>
                  <a:tcPr/>
                </a:tc>
                <a:tc>
                  <a:txBody>
                    <a:bodyPr/>
                    <a:lstStyle/>
                    <a:p>
                      <a:r>
                        <a:rPr lang="en-US" sz="1100"/>
                        <a:t>Create Statistics statements should be run after the initial load of data has occurred</a:t>
                      </a:r>
                    </a:p>
                  </a:txBody>
                  <a:tcPr/>
                </a:tc>
                <a:extLst>
                  <a:ext uri="{0D108BD9-81ED-4DB2-BD59-A6C34878D82A}">
                    <a16:rowId xmlns:a16="http://schemas.microsoft.com/office/drawing/2014/main" val="2502205657"/>
                  </a:ext>
                </a:extLst>
              </a:tr>
              <a:tr h="0">
                <a:tc>
                  <a:txBody>
                    <a:bodyPr/>
                    <a:lstStyle/>
                    <a:p>
                      <a:r>
                        <a:rPr lang="en-US" sz="1100"/>
                        <a:t>;</a:t>
                      </a:r>
                    </a:p>
                  </a:txBody>
                  <a:tcPr/>
                </a:tc>
                <a:tc>
                  <a:txBody>
                    <a:bodyPr/>
                    <a:lstStyle/>
                    <a:p>
                      <a:r>
                        <a:rPr lang="en-US" sz="1100"/>
                        <a:t>Delete</a:t>
                      </a:r>
                    </a:p>
                  </a:txBody>
                  <a:tcPr/>
                </a:tc>
                <a:tc>
                  <a:txBody>
                    <a:bodyPr/>
                    <a:lstStyle/>
                    <a:p>
                      <a:r>
                        <a:rPr lang="en-US" sz="1100"/>
                        <a:t>Delete all ; as this will cause the deployment script to fail as it is expecting only a single statement to be run.</a:t>
                      </a:r>
                    </a:p>
                  </a:txBody>
                  <a:tcPr/>
                </a:tc>
                <a:extLst>
                  <a:ext uri="{0D108BD9-81ED-4DB2-BD59-A6C34878D82A}">
                    <a16:rowId xmlns:a16="http://schemas.microsoft.com/office/drawing/2014/main" val="21488195"/>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64510"/>
            <a:ext cx="11072903" cy="13744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a:solidFill>
                  <a:schemeClr val="tx1"/>
                </a:solidFill>
              </a:rPr>
              <a:t>When </a:t>
            </a:r>
            <a:r>
              <a:rPr lang="en-US" sz="1600" err="1">
                <a:solidFill>
                  <a:schemeClr val="tx1"/>
                </a:solidFill>
              </a:rPr>
              <a:t>DWScripter</a:t>
            </a:r>
            <a:r>
              <a:rPr lang="en-US" sz="1600">
                <a:solidFill>
                  <a:schemeClr val="tx1"/>
                </a:solidFill>
              </a:rPr>
              <a:t> creates the table scripts, additional details are added to the script that are unnecessary for every table, view, or stored procedure created and need to be removed.  The Stats and Index creation statements should be removed from the Create table and placed in separate script files to be applied after the data has been loaded.  Creating the index/stats and then loading the data into SQLDW will slow down the data loading and the table creation.  </a:t>
            </a:r>
            <a:endParaRPr lang="en-US" sz="1600">
              <a:solidFill>
                <a:srgbClr val="FF0000"/>
              </a:solidFill>
            </a:endParaRPr>
          </a:p>
          <a:p>
            <a:pPr lvl="0">
              <a:defRPr/>
            </a:pPr>
            <a:endParaRPr lang="en-US" sz="1400">
              <a:solidFill>
                <a:schemeClr val="tx1"/>
              </a:solidFill>
            </a:endParaRP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Tree>
    <p:extLst>
      <p:ext uri="{BB962C8B-B14F-4D97-AF65-F5344CB8AC3E}">
        <p14:creationId xmlns:p14="http://schemas.microsoft.com/office/powerpoint/2010/main" val="32344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iscovery workshop - Objectiv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Rectangle 25">
            <a:extLst>
              <a:ext uri="{FF2B5EF4-FFF2-40B4-BE49-F238E27FC236}">
                <a16:creationId xmlns:a16="http://schemas.microsoft.com/office/drawing/2014/main" id="{DE0C95D9-BA7A-4A4A-9EF0-09069615E3D3}"/>
              </a:ext>
            </a:extLst>
          </p:cNvPr>
          <p:cNvSpPr/>
          <p:nvPr/>
        </p:nvSpPr>
        <p:spPr>
          <a:xfrm>
            <a:off x="379044" y="1567542"/>
            <a:ext cx="11215204" cy="4093428"/>
          </a:xfrm>
          <a:prstGeom prst="rect">
            <a:avLst/>
          </a:prstGeom>
        </p:spPr>
        <p:txBody>
          <a:bodyPr wrap="square">
            <a:spAutoFit/>
          </a:bodyPr>
          <a:lstStyle/>
          <a:p>
            <a:pPr marL="860425" lvl="2" indent="-342900">
              <a:lnSpc>
                <a:spcPct val="90000"/>
              </a:lnSpc>
              <a:spcBef>
                <a:spcPct val="20000"/>
              </a:spcBef>
              <a:buSzPct val="90000"/>
              <a:buFont typeface="Arial" panose="020B0604020202020204" pitchFamily="34" charset="0"/>
              <a:buChar char="•"/>
            </a:pPr>
            <a:r>
              <a:rPr lang="en-US" sz="2000" dirty="0"/>
              <a:t>Provide customer with overview of how to migrate existing DW solutions to Azure</a:t>
            </a:r>
          </a:p>
          <a:p>
            <a:pPr marL="860425" lvl="2" indent="-342900">
              <a:lnSpc>
                <a:spcPct val="90000"/>
              </a:lnSpc>
              <a:spcBef>
                <a:spcPct val="20000"/>
              </a:spcBef>
              <a:buSzPct val="90000"/>
              <a:buFont typeface="Arial" panose="020B0604020202020204" pitchFamily="34" charset="0"/>
              <a:buChar char="•"/>
            </a:pPr>
            <a:r>
              <a:rPr lang="en-US" sz="2000" dirty="0"/>
              <a:t>Review the high-level vision of the customer, business, and project scope</a:t>
            </a:r>
          </a:p>
          <a:p>
            <a:pPr marL="860425" lvl="2" indent="-342900">
              <a:lnSpc>
                <a:spcPct val="90000"/>
              </a:lnSpc>
              <a:spcBef>
                <a:spcPct val="20000"/>
              </a:spcBef>
              <a:buSzPct val="90000"/>
              <a:buFont typeface="Arial" panose="020B0604020202020204" pitchFamily="34" charset="0"/>
              <a:buChar char="•"/>
            </a:pPr>
            <a:r>
              <a:rPr lang="en-US" sz="2000" dirty="0"/>
              <a:t>Gather detailed metadata on the existing APS system to accurately estimate the migration </a:t>
            </a:r>
          </a:p>
          <a:p>
            <a:pPr marL="860425" lvl="2" indent="-342900">
              <a:lnSpc>
                <a:spcPct val="90000"/>
              </a:lnSpc>
              <a:spcBef>
                <a:spcPct val="20000"/>
              </a:spcBef>
              <a:buSzPct val="90000"/>
              <a:buFont typeface="Arial" panose="020B0604020202020204" pitchFamily="34" charset="0"/>
              <a:buChar char="•"/>
            </a:pPr>
            <a:r>
              <a:rPr lang="en-US" sz="2000" dirty="0"/>
              <a:t>Understand data use cases</a:t>
            </a:r>
          </a:p>
          <a:p>
            <a:pPr marL="860425" lvl="2" indent="-342900">
              <a:lnSpc>
                <a:spcPct val="90000"/>
              </a:lnSpc>
              <a:spcBef>
                <a:spcPct val="20000"/>
              </a:spcBef>
              <a:buSzPct val="90000"/>
              <a:buFont typeface="Arial" panose="020B0604020202020204" pitchFamily="34" charset="0"/>
              <a:buChar char="•"/>
            </a:pPr>
            <a:r>
              <a:rPr lang="en-US" sz="2000" dirty="0"/>
              <a:t>Understand end-to-end solution architecture</a:t>
            </a:r>
          </a:p>
          <a:p>
            <a:pPr marL="860425" lvl="2" indent="-342900">
              <a:lnSpc>
                <a:spcPct val="90000"/>
              </a:lnSpc>
              <a:spcBef>
                <a:spcPct val="20000"/>
              </a:spcBef>
              <a:buSzPct val="90000"/>
              <a:buFont typeface="Arial" panose="020B0604020202020204" pitchFamily="34" charset="0"/>
              <a:buChar char="•"/>
            </a:pPr>
            <a:r>
              <a:rPr lang="en-US" sz="2000" dirty="0"/>
              <a:t>Understand availability requirements of data</a:t>
            </a:r>
          </a:p>
          <a:p>
            <a:pPr marL="860425" lvl="2" indent="-342900">
              <a:lnSpc>
                <a:spcPct val="90000"/>
              </a:lnSpc>
              <a:spcBef>
                <a:spcPct val="20000"/>
              </a:spcBef>
              <a:buSzPct val="90000"/>
              <a:buFont typeface="Arial" panose="020B0604020202020204" pitchFamily="34" charset="0"/>
              <a:buChar char="•"/>
            </a:pPr>
            <a:r>
              <a:rPr lang="en-US" sz="2000" dirty="0"/>
              <a:t>Understand load / query performance expectations</a:t>
            </a:r>
          </a:p>
          <a:p>
            <a:pPr marL="860425" lvl="2" indent="-342900">
              <a:lnSpc>
                <a:spcPct val="90000"/>
              </a:lnSpc>
              <a:spcBef>
                <a:spcPct val="20000"/>
              </a:spcBef>
              <a:buSzPct val="90000"/>
              <a:buFont typeface="Arial" panose="020B0604020202020204" pitchFamily="34" charset="0"/>
              <a:buChar char="•"/>
            </a:pPr>
            <a:r>
              <a:rPr lang="en-US" sz="2000" dirty="0"/>
              <a:t>Identify 3rd party solution integration tools in use</a:t>
            </a:r>
          </a:p>
          <a:p>
            <a:pPr marL="860425" lvl="2" indent="-342900">
              <a:lnSpc>
                <a:spcPct val="90000"/>
              </a:lnSpc>
              <a:spcBef>
                <a:spcPct val="20000"/>
              </a:spcBef>
              <a:buSzPct val="90000"/>
              <a:buFont typeface="Arial" panose="020B0604020202020204" pitchFamily="34" charset="0"/>
              <a:buChar char="•"/>
            </a:pPr>
            <a:r>
              <a:rPr lang="en-US" sz="2000" dirty="0"/>
              <a:t>Understand code artifacts requiring migration re-work in the existing solution</a:t>
            </a:r>
          </a:p>
          <a:p>
            <a:pPr marL="860425" lvl="2" indent="-342900">
              <a:lnSpc>
                <a:spcPct val="90000"/>
              </a:lnSpc>
              <a:spcBef>
                <a:spcPct val="20000"/>
              </a:spcBef>
              <a:buSzPct val="90000"/>
              <a:buFont typeface="Arial" panose="020B0604020202020204" pitchFamily="34" charset="0"/>
              <a:buChar char="•"/>
            </a:pPr>
            <a:r>
              <a:rPr lang="en-US" sz="2000" dirty="0"/>
              <a:t>Understand data flow timing and the available windows for migration</a:t>
            </a:r>
          </a:p>
          <a:p>
            <a:pPr marL="860425" lvl="2" indent="-342900">
              <a:lnSpc>
                <a:spcPct val="90000"/>
              </a:lnSpc>
              <a:spcBef>
                <a:spcPct val="20000"/>
              </a:spcBef>
              <a:buSzPct val="90000"/>
              <a:buFont typeface="Arial" panose="020B0604020202020204" pitchFamily="34" charset="0"/>
              <a:buChar char="•"/>
            </a:pPr>
            <a:r>
              <a:rPr lang="en-US" sz="2000" dirty="0"/>
              <a:t>Understand the existing infrastructure of the complete solution</a:t>
            </a:r>
          </a:p>
          <a:p>
            <a:pPr marL="517525" lvl="2">
              <a:lnSpc>
                <a:spcPct val="90000"/>
              </a:lnSpc>
              <a:spcBef>
                <a:spcPct val="20000"/>
              </a:spcBef>
              <a:buSzPct val="90000"/>
            </a:pPr>
            <a:endParaRPr lang="en-US" sz="2000" dirty="0"/>
          </a:p>
        </p:txBody>
      </p:sp>
    </p:spTree>
    <p:extLst>
      <p:ext uri="{BB962C8B-B14F-4D97-AF65-F5344CB8AC3E}">
        <p14:creationId xmlns:p14="http://schemas.microsoft.com/office/powerpoint/2010/main" val="129922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05464" y="1083337"/>
            <a:ext cx="11870712"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reate one config file for the Python Program “</a:t>
            </a:r>
            <a:r>
              <a:rPr kumimoji="0" lang="en-US" sz="1600" b="1"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leanScripts.py</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  This is a CSV file containing the following column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0" marR="0" lvl="0" indent="0" algn="l" defTabSz="1219120" rtl="0" eaLnBrk="1" fontAlgn="auto" latinLnBrk="0" hangingPunct="1">
              <a:lnSpc>
                <a:spcPct val="100000"/>
              </a:lnSpc>
              <a:spcBef>
                <a:spcPts val="800"/>
              </a:spcBef>
              <a:spcAft>
                <a:spcPts val="0"/>
              </a:spcAft>
              <a:buClrTx/>
              <a:buSzPct val="80000"/>
              <a:buNone/>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lvl="0" indent="-685783">
              <a:buFont typeface="+mj-lt"/>
              <a:buAutoNum type="arabicPeriod" startAt="2"/>
              <a:defRPr/>
            </a:pPr>
            <a:r>
              <a:rPr lang="en-US" sz="1600">
                <a:gradFill>
                  <a:gsLst>
                    <a:gs pos="0">
                      <a:srgbClr val="292929"/>
                    </a:gs>
                    <a:gs pos="86000">
                      <a:srgbClr val="292929"/>
                    </a:gs>
                  </a:gsLst>
                  <a:lin ang="5400000" scaled="0"/>
                </a:gradFill>
              </a:rPr>
              <a:t>Run the CleanScripts.py and </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29186765"/>
              </p:ext>
            </p:extLst>
          </p:nvPr>
        </p:nvGraphicFramePr>
        <p:xfrm>
          <a:off x="1191275" y="1590532"/>
          <a:ext cx="10264763" cy="1810659"/>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SrcDir</a:t>
                      </a:r>
                    </a:p>
                  </a:txBody>
                  <a:tcPr marL="121920" marR="121920" marT="60960" marB="60960" anchor="ctr"/>
                </a:tc>
                <a:tc>
                  <a:txBody>
                    <a:bodyPr/>
                    <a:lstStyle/>
                    <a:p>
                      <a:r>
                        <a:rPr lang="en-US" sz="900"/>
                        <a:t>Directory where the APS Scripts resides. This should be the output file directories from Step 1: CreateMPPScripts. Must have “\” on end.</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1_CreateMPP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a:t>OutDir</a:t>
                      </a:r>
                    </a:p>
                  </a:txBody>
                  <a:tcPr marL="121920" marR="121920" marT="60960" marB="60960" anchor="ctr"/>
                </a:tc>
                <a:tc>
                  <a:txBody>
                    <a:bodyPr/>
                    <a:lstStyle/>
                    <a:p>
                      <a:r>
                        <a:rPr lang="en-US" sz="900"/>
                        <a:t>Output director of this step, where the cleaned scripts will reside. Must have “\” on end. </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2_CleanScript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a:t>ObjectType</a:t>
                      </a:r>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Tree>
    <p:extLst>
      <p:ext uri="{BB962C8B-B14F-4D97-AF65-F5344CB8AC3E}">
        <p14:creationId xmlns:p14="http://schemas.microsoft.com/office/powerpoint/2010/main" val="41801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 name="Arrow: Right 51">
            <a:extLst>
              <a:ext uri="{FF2B5EF4-FFF2-40B4-BE49-F238E27FC236}">
                <a16:creationId xmlns:a16="http://schemas.microsoft.com/office/drawing/2014/main" id="{F051F300-EC17-4889-A0ED-300D475178C0}"/>
              </a:ext>
            </a:extLst>
          </p:cNvPr>
          <p:cNvSpPr/>
          <p:nvPr/>
        </p:nvSpPr>
        <p:spPr>
          <a:xfrm>
            <a:off x="2640644" y="2587151"/>
            <a:ext cx="1118850"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019906"/>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394004" y="1039426"/>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408821"/>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090814"/>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7833776" y="1995861"/>
            <a:ext cx="3356624"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Scrip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pic>
        <p:nvPicPr>
          <p:cNvPr id="41" name="Picture 40">
            <a:extLst>
              <a:ext uri="{FF2B5EF4-FFF2-40B4-BE49-F238E27FC236}">
                <a16:creationId xmlns:a16="http://schemas.microsoft.com/office/drawing/2014/main" id="{82AD5605-C6B0-44B2-9FB3-E96E7C8A9AE8}"/>
              </a:ext>
            </a:extLst>
          </p:cNvPr>
          <p:cNvPicPr>
            <a:picLocks noChangeAspect="1"/>
          </p:cNvPicPr>
          <p:nvPr/>
        </p:nvPicPr>
        <p:blipFill>
          <a:blip r:embed="rId6"/>
          <a:stretch>
            <a:fillRect/>
          </a:stretch>
        </p:blipFill>
        <p:spPr>
          <a:xfrm>
            <a:off x="1491247" y="2296247"/>
            <a:ext cx="810311" cy="952323"/>
          </a:xfrm>
          <a:prstGeom prst="rect">
            <a:avLst/>
          </a:prstGeom>
        </p:spPr>
      </p:pic>
      <p:sp>
        <p:nvSpPr>
          <p:cNvPr id="42" name="TextBox 41">
            <a:extLst>
              <a:ext uri="{FF2B5EF4-FFF2-40B4-BE49-F238E27FC236}">
                <a16:creationId xmlns:a16="http://schemas.microsoft.com/office/drawing/2014/main" id="{A9966834-0909-4B67-AA5A-6BF40F8C5134}"/>
              </a:ext>
            </a:extLst>
          </p:cNvPr>
          <p:cNvSpPr txBox="1"/>
          <p:nvPr/>
        </p:nvSpPr>
        <p:spPr>
          <a:xfrm>
            <a:off x="3360100" y="1140110"/>
            <a:ext cx="6332889"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Scripts Generated From Step 1</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containing Create Index and Create Statistics 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3136637" y="2049022"/>
            <a:ext cx="806769" cy="404880"/>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1085740" y="3290500"/>
            <a:ext cx="2084843"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 for the </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Python Program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7"/>
          <a:stretch>
            <a:fillRect/>
          </a:stretch>
        </p:blipFill>
        <p:spPr>
          <a:xfrm>
            <a:off x="1001598" y="5246488"/>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753877" y="4453878"/>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a:t>
            </a:r>
            <a:r>
              <a:rPr lang="en-US" sz="1200" kern="0">
                <a:solidFill>
                  <a:srgbClr val="292929"/>
                </a:solidFill>
                <a:latin typeface="Segoe UI"/>
              </a:rPr>
              <a:t>the line</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8575338" y="4453877"/>
            <a:ext cx="2235301" cy="661719"/>
          </a:xfrm>
          <a:prstGeom prst="wedgeRectCallout">
            <a:avLst>
              <a:gd name="adj1" fmla="val -107795"/>
              <a:gd name="adj2" fmla="val 78256"/>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4608748" y="4329809"/>
            <a:ext cx="2420820" cy="784208"/>
          </a:xfrm>
          <a:prstGeom prst="wedgeRectCallout">
            <a:avLst>
              <a:gd name="adj1" fmla="val -110864"/>
              <a:gd name="adj2" fmla="val 81938"/>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input files. These are the paths from previous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4D35E809-A2B3-4087-AE25-B4A174E11EFA}"/>
              </a:ext>
            </a:extLst>
          </p:cNvPr>
          <p:cNvSpPr txBox="1"/>
          <p:nvPr/>
        </p:nvSpPr>
        <p:spPr>
          <a:xfrm>
            <a:off x="3759494" y="3213424"/>
            <a:ext cx="7698953" cy="1015663"/>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cs typeface="Calibri" panose="020F0502020204030204" pitchFamily="34" charset="0"/>
              </a:rPr>
              <a:t>CleanScripts.py</a:t>
            </a:r>
          </a:p>
          <a:p>
            <a:pPr marL="228594" lvl="0" indent="-228594" defTabSz="1219120">
              <a:buFont typeface="Arial" panose="020B0604020202020204" pitchFamily="34" charset="0"/>
              <a:buChar char="•"/>
              <a:defRPr/>
            </a:pPr>
            <a:r>
              <a:rPr lang="en-US" sz="1200" kern="0">
                <a:solidFill>
                  <a:srgbClr val="292929"/>
                </a:solidFill>
              </a:rPr>
              <a:t>P</a:t>
            </a:r>
            <a:r>
              <a:rPr kumimoji="0" lang="en-US" sz="1200" b="0" i="0" u="none" strike="noStrike" kern="0" cap="none" spc="0" normalizeH="0" baseline="0" noProof="0" err="1">
                <a:ln>
                  <a:noFill/>
                </a:ln>
                <a:solidFill>
                  <a:srgbClr val="292929"/>
                </a:solidFill>
                <a:effectLst/>
                <a:uLnTx/>
                <a:uFillTx/>
                <a:ea typeface="+mn-ea"/>
                <a:cs typeface="+mn-cs"/>
              </a:rPr>
              <a:t>rompts</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a:t>
            </a:r>
            <a:r>
              <a:rPr kumimoji="0" lang="en-US" sz="1200" b="0" i="0" u="none" strike="noStrike" kern="0" cap="none" spc="0" normalizeH="0" baseline="0" noProof="0" err="1">
                <a:ln>
                  <a:noFill/>
                </a:ln>
                <a:solidFill>
                  <a:srgbClr val="292929"/>
                </a:solidFill>
                <a:effectLst/>
                <a:uLnTx/>
                <a:uFillTx/>
                <a:ea typeface="+mn-ea"/>
                <a:cs typeface="+mn-cs"/>
              </a:rPr>
              <a:t>onfiguration</a:t>
            </a:r>
            <a:r>
              <a:rPr kumimoji="0" lang="en-US" sz="1200" b="0" i="0" u="none" strike="noStrike" kern="0" cap="none" spc="0" normalizeH="0" baseline="0" noProof="0">
                <a:ln>
                  <a:noFill/>
                </a:ln>
                <a:solidFill>
                  <a:srgbClr val="292929"/>
                </a:solidFill>
                <a:effectLst/>
                <a:uLnTx/>
                <a:uFillTx/>
                <a:ea typeface="+mn-ea"/>
                <a:cs typeface="+mn-cs"/>
              </a:rPr>
              <a:t> file directory (default </a:t>
            </a:r>
            <a:r>
              <a:rPr lang="en-US" sz="1200" kern="0">
                <a:solidFill>
                  <a:srgbClr val="292929"/>
                </a:solidFill>
              </a:rPr>
              <a:t>directory: C:\APS2SQLDW\2_CleanScripts\ </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SV configuration file name (default file name: clean_scripts.csv)</a:t>
            </a:r>
          </a:p>
          <a:p>
            <a:pPr marL="228594" indent="-228594" defTabSz="1219120">
              <a:buFont typeface="Arial" panose="020B0604020202020204" pitchFamily="34" charset="0"/>
              <a:buChar char="•"/>
              <a:defRPr/>
            </a:pPr>
            <a:r>
              <a:rPr lang="en-US" sz="1200" kern="0">
                <a:solidFill>
                  <a:srgbClr val="292929"/>
                </a:solidFill>
              </a:rPr>
              <a:t>Clean the scripts stored in source directories and store cleaned scripts in output directories</a:t>
            </a:r>
            <a:endParaRPr kumimoji="0" lang="en-US" sz="1200" b="0" i="0" u="none" strike="noStrike" kern="0" cap="none" spc="0" normalizeH="0" baseline="0" noProof="0">
              <a:ln>
                <a:noFill/>
              </a:ln>
              <a:solidFill>
                <a:srgbClr val="292929"/>
              </a:solidFill>
              <a:effectLst/>
              <a:uLnTx/>
              <a:uFillTx/>
              <a:ea typeface="+mn-ea"/>
              <a:cs typeface="+mn-cs"/>
            </a:endParaRPr>
          </a:p>
        </p:txBody>
      </p:sp>
    </p:spTree>
    <p:extLst>
      <p:ext uri="{BB962C8B-B14F-4D97-AF65-F5344CB8AC3E}">
        <p14:creationId xmlns:p14="http://schemas.microsoft.com/office/powerpoint/2010/main" val="39924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105736641"/>
              </p:ext>
            </p:extLst>
          </p:nvPr>
        </p:nvGraphicFramePr>
        <p:xfrm>
          <a:off x="440180" y="3871018"/>
          <a:ext cx="11283495" cy="234696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563232">
                  <a:extLst>
                    <a:ext uri="{9D8B030D-6E8A-4147-A177-3AD203B41FA5}">
                      <a16:colId xmlns:a16="http://schemas.microsoft.com/office/drawing/2014/main" val="265382154"/>
                    </a:ext>
                  </a:extLst>
                </a:gridCol>
                <a:gridCol w="1944885">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a:latin typeface="+mn-lt"/>
                        </a:rPr>
                        <a:t>1</a:t>
                      </a:r>
                    </a:p>
                  </a:txBody>
                  <a:tcPr/>
                </a:tc>
                <a:tc>
                  <a:txBody>
                    <a:bodyPr/>
                    <a:lstStyle/>
                    <a:p>
                      <a:r>
                        <a:rPr lang="en-US" sz="1000">
                          <a:latin typeface="+mn-lt"/>
                        </a:rPr>
                        <a:t>[APS_DB].[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Create/Delete Table [</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txBody>
                  <a:tcPr/>
                </a:tc>
                <a:tc>
                  <a:txBody>
                    <a:bodyPr/>
                    <a:lstStyle/>
                    <a:p>
                      <a:r>
                        <a:rPr lang="en-US" sz="1000">
                          <a:latin typeface="+mn-lt"/>
                        </a:rPr>
                        <a:t>Create/Delete Table </a:t>
                      </a:r>
                      <a:r>
                        <a:rPr lang="en-US" sz="1000">
                          <a:solidFill>
                            <a:srgbClr val="0000FF"/>
                          </a:solidFill>
                          <a:latin typeface="+mn-lt"/>
                        </a:rPr>
                        <a:t>[st_dbo].[</a:t>
                      </a:r>
                      <a:r>
                        <a:rPr lang="en-US" sz="1000">
                          <a:latin typeface="+mn-lt"/>
                        </a:rPr>
                        <a:t>Tmp_Dates]</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QLDW_Schema].[Table]</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chemeClr val="tx1"/>
                          </a:solidFill>
                          <a:latin typeface="+mn-lt"/>
                        </a:rPr>
                        <a:t>[</a:t>
                      </a:r>
                      <a:r>
                        <a:rPr lang="en-US" sz="1000">
                          <a:solidFill>
                            <a:srgbClr val="0000FF"/>
                          </a:solidFill>
                          <a:latin typeface="+mn-lt"/>
                        </a:rPr>
                        <a:t>testSchema</a:t>
                      </a:r>
                      <a:r>
                        <a:rPr lang="en-US" sz="1000">
                          <a:solidFill>
                            <a:schemeClr val="tx1"/>
                          </a:solidFill>
                          <a:latin typeface="+mn-lt"/>
                        </a:rPr>
                        <a:t>].[Tmp_Dates]</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rgbClr val="0000FF"/>
                          </a:solidFill>
                          <a:latin typeface="+mn-lt"/>
                        </a:rPr>
                        <a:t>[adw_testSchema</a:t>
                      </a:r>
                      <a:r>
                        <a:rPr lang="en-US" sz="1000">
                          <a:solidFill>
                            <a:schemeClr val="tx1"/>
                          </a:solidFill>
                          <a:latin typeface="+mn-lt"/>
                        </a:rPr>
                        <a:t>].[Tmp_Dates]</a:t>
                      </a:r>
                    </a:p>
                  </a:txBody>
                  <a:tcPr/>
                </a:tc>
                <a:extLst>
                  <a:ext uri="{0D108BD9-81ED-4DB2-BD59-A6C34878D82A}">
                    <a16:rowId xmlns:a16="http://schemas.microsoft.com/office/drawing/2014/main" val="2451776884"/>
                  </a:ext>
                </a:extLst>
              </a:tr>
              <a:tr h="0">
                <a:tc>
                  <a:txBody>
                    <a:bodyPr/>
                    <a:lstStyle/>
                    <a:p>
                      <a:r>
                        <a:rPr lang="en-US" sz="1000">
                          <a:latin typeface="+mn-lt"/>
                        </a:rPr>
                        <a:t>3</a:t>
                      </a:r>
                    </a:p>
                  </a:txBody>
                  <a:tcPr/>
                </a:tc>
                <a:tc>
                  <a:txBody>
                    <a:bodyPr/>
                    <a:lstStyle/>
                    <a:p>
                      <a:r>
                        <a:rPr lang="en-US" sz="1000" b="0">
                          <a:latin typeface="+mn-lt"/>
                        </a:rPr>
                        <a:t>[APS_DB].sys. Or APS_DB.sys.</a:t>
                      </a:r>
                    </a:p>
                  </a:txBody>
                  <a:tcPr/>
                </a:tc>
                <a:tc>
                  <a:txBody>
                    <a:bodyPr/>
                    <a:lstStyle/>
                    <a:p>
                      <a:r>
                        <a:rPr lang="en-US" sz="1000">
                          <a:latin typeface="+mn-lt"/>
                        </a:rPr>
                        <a:t>.sys.</a:t>
                      </a:r>
                    </a:p>
                  </a:txBody>
                  <a:tcPr/>
                </a:tc>
                <a:tc>
                  <a:txBody>
                    <a:bodyPr/>
                    <a:lstStyle/>
                    <a:p>
                      <a:r>
                        <a:rPr lang="en-US" sz="1000">
                          <a:latin typeface="+mn-lt"/>
                        </a:rPr>
                        <a:t>SELECT 1 FROM </a:t>
                      </a:r>
                      <a:r>
                        <a:rPr lang="en-US" sz="1000">
                          <a:solidFill>
                            <a:srgbClr val="0000FF"/>
                          </a:solidFill>
                          <a:latin typeface="+mn-lt"/>
                        </a:rPr>
                        <a:t>adventure_works.sys.</a:t>
                      </a:r>
                      <a:r>
                        <a:rPr lang="en-US" sz="1000">
                          <a:latin typeface="+mn-lt"/>
                        </a:rPr>
                        <a:t>schemas </a:t>
                      </a:r>
                    </a:p>
                  </a:txBody>
                  <a:tcPr/>
                </a:tc>
                <a:tc>
                  <a:txBody>
                    <a:bodyPr/>
                    <a:lstStyle/>
                    <a:p>
                      <a:r>
                        <a:rPr lang="en-US" sz="1000">
                          <a:latin typeface="+mn-lt"/>
                        </a:rPr>
                        <a:t>SELECT 1 FROM </a:t>
                      </a:r>
                      <a:r>
                        <a:rPr lang="en-US" sz="1000">
                          <a:solidFill>
                            <a:srgbClr val="0000FF"/>
                          </a:solidFill>
                          <a:latin typeface="+mn-lt"/>
                        </a:rPr>
                        <a:t>sys</a:t>
                      </a:r>
                      <a:r>
                        <a:rPr lang="en-US" sz="1000">
                          <a:latin typeface="+mn-lt"/>
                        </a:rPr>
                        <a:t>.schemas </a:t>
                      </a:r>
                    </a:p>
                  </a:txBody>
                  <a:tcPr/>
                </a:tc>
                <a:extLst>
                  <a:ext uri="{0D108BD9-81ED-4DB2-BD59-A6C34878D82A}">
                    <a16:rowId xmlns:a16="http://schemas.microsoft.com/office/drawing/2014/main" val="64533101"/>
                  </a:ext>
                </a:extLst>
              </a:tr>
              <a:tr h="0">
                <a:tc>
                  <a:txBody>
                    <a:bodyPr/>
                    <a:lstStyle/>
                    <a:p>
                      <a:r>
                        <a:rPr lang="en-US" sz="1000">
                          <a:latin typeface="+mn-lt"/>
                        </a:rPr>
                        <a:t>4</a:t>
                      </a:r>
                    </a:p>
                  </a:txBody>
                  <a:tcPr/>
                </a:tc>
                <a:tc>
                  <a:txBody>
                    <a:bodyPr/>
                    <a:lstStyle/>
                    <a:p>
                      <a:r>
                        <a:rPr lang="en-US" sz="1000">
                          <a:solidFill>
                            <a:schemeClr val="tx1"/>
                          </a:solidFill>
                          <a:latin typeface="+mn-lt"/>
                        </a:rPr>
                        <a:t>‘[APS</a:t>
                      </a:r>
                      <a:r>
                        <a:rPr lang="en-US" sz="1000">
                          <a:latin typeface="+mn-lt"/>
                        </a:rPr>
                        <a:t>_DB_Name].[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IF OBJECT_ID('[</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st_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_dbo]</a:t>
                      </a:r>
                      <a:r>
                        <a:rPr lang="en-US" sz="1000">
                          <a:latin typeface="+mn-lt"/>
                        </a:rPr>
                        <a:t>.[Tmp_Dates]’)</a:t>
                      </a:r>
                    </a:p>
                    <a:p>
                      <a:endParaRPr lang="en-US" sz="1000">
                        <a:latin typeface="+mn-lt"/>
                      </a:endParaRPr>
                    </a:p>
                  </a:txBody>
                  <a:tcPr/>
                </a:tc>
                <a:extLst>
                  <a:ext uri="{0D108BD9-81ED-4DB2-BD59-A6C34878D82A}">
                    <a16:rowId xmlns:a16="http://schemas.microsoft.com/office/drawing/2014/main" val="856617918"/>
                  </a:ext>
                </a:extLst>
              </a:tr>
              <a:tr h="0">
                <a:tc>
                  <a:txBody>
                    <a:bodyPr/>
                    <a:lstStyle/>
                    <a:p>
                      <a:r>
                        <a:rPr lang="en-US" sz="1000">
                          <a:latin typeface="+mn-lt"/>
                        </a:rPr>
                        <a:t>5</a:t>
                      </a:r>
                    </a:p>
                  </a:txBody>
                  <a:tcPr/>
                </a:tc>
                <a:tc>
                  <a:txBody>
                    <a:bodyPr/>
                    <a:lstStyle/>
                    <a:p>
                      <a:r>
                        <a:rPr lang="en-US" sz="1000">
                          <a:solidFill>
                            <a:schemeClr val="tx1"/>
                          </a:solidFill>
                          <a:latin typeface="+mn-lt"/>
                        </a:rPr>
                        <a:t>‘[APS</a:t>
                      </a:r>
                      <a:r>
                        <a:rPr lang="en-US" sz="1000">
                          <a:latin typeface="+mn-lt"/>
                        </a:rPr>
                        <a:t>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p>
                      <a:endParaRPr lang="en-US" sz="100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adw_testSchema].[</a:t>
                      </a:r>
                      <a:r>
                        <a:rPr lang="en-US" sz="1000">
                          <a:latin typeface="+mn-lt"/>
                        </a:rPr>
                        <a:t>Tmp_Dat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extLst>
                  <a:ext uri="{0D108BD9-81ED-4DB2-BD59-A6C34878D82A}">
                    <a16:rowId xmlns:a16="http://schemas.microsoft.com/office/drawing/2014/main" val="539184790"/>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37603"/>
            <a:ext cx="11135084"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All Schema changes are enforced by the mapping rules defined in a schema mapping config file. </a:t>
            </a:r>
            <a:r>
              <a:rPr kumimoji="0" lang="en-US" sz="1600" b="0" i="0" u="none" strike="noStrike" kern="1200" cap="none" spc="0" normalizeH="0" baseline="0" noProof="0">
                <a:ln>
                  <a:noFill/>
                </a:ln>
                <a:solidFill>
                  <a:srgbClr val="000000"/>
                </a:solidFill>
                <a:effectLst/>
                <a:uLnTx/>
                <a:uFillTx/>
                <a:latin typeface="Segoe UI"/>
                <a:ea typeface="+mn-ea"/>
                <a:cs typeface="+mn-cs"/>
              </a:rPr>
              <a:t>All changes are illustrated below, using the sample schema mapping file below.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FA065026-4D63-4F30-91BD-D3D4C8BC01B3}"/>
              </a:ext>
            </a:extLst>
          </p:cNvPr>
          <p:cNvPicPr>
            <a:picLocks noChangeAspect="1"/>
          </p:cNvPicPr>
          <p:nvPr/>
        </p:nvPicPr>
        <p:blipFill>
          <a:blip r:embed="rId4"/>
          <a:stretch>
            <a:fillRect/>
          </a:stretch>
        </p:blipFill>
        <p:spPr>
          <a:xfrm>
            <a:off x="4517527" y="1948455"/>
            <a:ext cx="6823021" cy="823468"/>
          </a:xfrm>
          <a:prstGeom prst="rect">
            <a:avLst/>
          </a:prstGeom>
        </p:spPr>
      </p:pic>
      <p:sp>
        <p:nvSpPr>
          <p:cNvPr id="27" name="Rectangle 26">
            <a:extLst>
              <a:ext uri="{FF2B5EF4-FFF2-40B4-BE49-F238E27FC236}">
                <a16:creationId xmlns:a16="http://schemas.microsoft.com/office/drawing/2014/main" id="{264CDF0F-2D17-425F-8607-4B19F4825355}"/>
              </a:ext>
            </a:extLst>
          </p:cNvPr>
          <p:cNvSpPr/>
          <p:nvPr/>
        </p:nvSpPr>
        <p:spPr bwMode="auto">
          <a:xfrm>
            <a:off x="379044" y="2113884"/>
            <a:ext cx="4062327" cy="59061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1600" b="0" i="0" u="none" strike="noStrike" kern="0" cap="none" spc="0" normalizeH="0" baseline="0" noProof="0">
                <a:ln>
                  <a:noFill/>
                </a:ln>
                <a:solidFill>
                  <a:srgbClr val="0070C0"/>
                </a:solidFill>
                <a:effectLst/>
                <a:uLnTx/>
                <a:uFillTx/>
                <a:latin typeface="Segoe UI"/>
                <a:ea typeface="+mn-ea"/>
                <a:cs typeface="+mn-cs"/>
              </a:rPr>
              <a:t>Sample Schema Mapping (schemas.csv) :</a:t>
            </a: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3113974"/>
            <a:ext cx="10961505" cy="627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70C0"/>
                </a:solidFill>
                <a:latin typeface="Segoe UI"/>
              </a:rPr>
              <a:t>Schema Change Rules with Sample SP in APS DB </a:t>
            </a:r>
            <a:r>
              <a:rPr lang="en-US" sz="1600" b="1" kern="0" err="1">
                <a:solidFill>
                  <a:srgbClr val="0070C0"/>
                </a:solidFill>
              </a:rPr>
              <a:t>adventure_works</a:t>
            </a:r>
            <a:r>
              <a:rPr lang="en-US" sz="1600" b="1" kern="0">
                <a:solidFill>
                  <a:srgbClr val="0070C0"/>
                </a:solidFill>
              </a:rPr>
              <a:t>, </a:t>
            </a:r>
            <a:r>
              <a:rPr lang="en-US" sz="1600" kern="0">
                <a:solidFill>
                  <a:srgbClr val="0070C0"/>
                </a:solidFill>
              </a:rPr>
              <a:t>with cross DB query to </a:t>
            </a:r>
            <a:r>
              <a:rPr lang="en-US" sz="1600" b="1" kern="0" err="1">
                <a:solidFill>
                  <a:srgbClr val="0070C0"/>
                </a:solidFill>
              </a:rPr>
              <a:t>stagedb</a:t>
            </a:r>
            <a:r>
              <a:rPr lang="en-US" sz="1600" kern="0">
                <a:solidFill>
                  <a:srgbClr val="0070C0"/>
                </a:solidFill>
              </a:rPr>
              <a:t> DB. </a:t>
            </a:r>
          </a:p>
          <a:p>
            <a:pPr>
              <a:defRPr/>
            </a:pPr>
            <a:r>
              <a:rPr lang="en-US" sz="1600" kern="0">
                <a:solidFill>
                  <a:srgbClr val="0070C0"/>
                </a:solidFill>
              </a:rPr>
              <a:t>Please note that modified code will have consistent coding styles where objects/texts are changed.  </a:t>
            </a:r>
          </a:p>
          <a:p>
            <a:pPr>
              <a:defRPr/>
            </a:pPr>
            <a:r>
              <a:rPr lang="en-US" sz="1600" kern="0">
                <a:solidFill>
                  <a:srgbClr val="0070C0"/>
                </a:solidFill>
              </a:rPr>
              <a:t> </a:t>
            </a:r>
            <a:endParaRPr kumimoji="0" lang="en-US" sz="1600" i="0" u="none" strike="noStrike" kern="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225320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572927131"/>
              </p:ext>
            </p:extLst>
          </p:nvPr>
        </p:nvGraphicFramePr>
        <p:xfrm>
          <a:off x="559093" y="1744675"/>
          <a:ext cx="10264763" cy="1295886"/>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900" b="0" err="1">
                          <a:solidFill>
                            <a:schemeClr val="tx1"/>
                          </a:solidFill>
                        </a:rPr>
                        <a:t>ApsDbName</a:t>
                      </a:r>
                      <a:endParaRPr lang="en-US" sz="900" b="0"/>
                    </a:p>
                  </a:txBody>
                  <a:tcPr marL="121920" marR="121920" marT="60960" marB="60960" anchor="ctr"/>
                </a:tc>
                <a:tc>
                  <a:txBody>
                    <a:bodyPr/>
                    <a:lstStyle/>
                    <a:p>
                      <a:r>
                        <a:rPr lang="en-US" sz="900">
                          <a:solidFill>
                            <a:schemeClr val="tx1"/>
                          </a:solidFill>
                        </a:rPr>
                        <a:t>Name of one APS Database </a:t>
                      </a:r>
                      <a:endParaRPr lang="en-US" sz="900"/>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a:t>
                      </a:r>
                      <a:r>
                        <a:rPr lang="en-US" sz="900" kern="1200" err="1">
                          <a:solidFill>
                            <a:schemeClr val="dk1"/>
                          </a:solidFill>
                          <a:latin typeface="+mn-lt"/>
                          <a:ea typeface="+mn-ea"/>
                          <a:cs typeface="+mn-cs"/>
                        </a:rPr>
                        <a:t>adventure_works</a:t>
                      </a:r>
                      <a:r>
                        <a:rPr lang="en-US" sz="900" kern="1200">
                          <a:solidFill>
                            <a:schemeClr val="dk1"/>
                          </a:solidFill>
                          <a:latin typeface="+mn-lt"/>
                          <a:ea typeface="+mn-ea"/>
                          <a:cs typeface="+mn-cs"/>
                        </a:rPr>
                        <a:t>, </a:t>
                      </a:r>
                      <a:r>
                        <a:rPr lang="en-US" sz="900" kern="1200" err="1">
                          <a:solidFill>
                            <a:schemeClr val="dk1"/>
                          </a:solidFill>
                          <a:latin typeface="+mn-lt"/>
                          <a:ea typeface="+mn-ea"/>
                          <a:cs typeface="+mn-cs"/>
                        </a:rPr>
                        <a:t>stagedb</a:t>
                      </a:r>
                      <a:endParaRPr lang="en-US" sz="9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900" b="0" err="1">
                          <a:solidFill>
                            <a:schemeClr val="tx1"/>
                          </a:solidFill>
                        </a:rPr>
                        <a:t>ApsSchema</a:t>
                      </a:r>
                      <a:endParaRPr lang="en-US" sz="900" b="0"/>
                    </a:p>
                  </a:txBody>
                  <a:tcPr marL="121920" marR="121920" marT="60960" marB="60960" anchor="ctr"/>
                </a:tc>
                <a:tc>
                  <a:txBody>
                    <a:bodyPr/>
                    <a:lstStyle/>
                    <a:p>
                      <a:r>
                        <a:rPr lang="en-US" sz="900">
                          <a:solidFill>
                            <a:schemeClr val="tx1"/>
                          </a:solidFill>
                        </a:rPr>
                        <a:t>The Schema used by the APS Database</a:t>
                      </a:r>
                      <a:endParaRPr lang="en-US" sz="900"/>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a:t>
                      </a:r>
                      <a:r>
                        <a:rPr lang="en-US" sz="900" kern="1200" err="1">
                          <a:solidFill>
                            <a:schemeClr val="dk1"/>
                          </a:solidFill>
                          <a:latin typeface="+mn-lt"/>
                          <a:ea typeface="+mn-ea"/>
                          <a:cs typeface="+mn-cs"/>
                        </a:rPr>
                        <a:t>dbo</a:t>
                      </a:r>
                      <a:r>
                        <a:rPr lang="en-US" sz="900" kern="1200">
                          <a:solidFill>
                            <a:schemeClr val="dk1"/>
                          </a:solidFill>
                          <a:latin typeface="+mn-lt"/>
                          <a:ea typeface="+mn-ea"/>
                          <a:cs typeface="+mn-cs"/>
                        </a:rPr>
                        <a:t>, </a:t>
                      </a:r>
                      <a:r>
                        <a:rPr lang="en-US" sz="900" kern="1200" err="1">
                          <a:solidFill>
                            <a:schemeClr val="dk1"/>
                          </a:solidFill>
                          <a:latin typeface="+mn-lt"/>
                          <a:ea typeface="+mn-ea"/>
                          <a:cs typeface="+mn-cs"/>
                        </a:rPr>
                        <a:t>testSchema</a:t>
                      </a:r>
                      <a:endParaRPr lang="en-US" sz="9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900" b="0" err="1">
                          <a:solidFill>
                            <a:schemeClr val="tx1"/>
                          </a:solidFill>
                        </a:rPr>
                        <a:t>SQLDWSchema</a:t>
                      </a:r>
                      <a:endParaRPr lang="en-US" sz="900" b="0"/>
                    </a:p>
                  </a:txBody>
                  <a:tcPr marL="121920" marR="121920" marT="60960" marB="60960" anchor="ctr"/>
                </a:tc>
                <a:tc>
                  <a:txBody>
                    <a:bodyPr/>
                    <a:lstStyle/>
                    <a:p>
                      <a:r>
                        <a:rPr lang="en-US" sz="900"/>
                        <a:t>The Schema name to be used by SQLDW corresponding to the </a:t>
                      </a:r>
                      <a:r>
                        <a:rPr lang="en-US" sz="900" err="1"/>
                        <a:t>ApsSchema</a:t>
                      </a:r>
                      <a:r>
                        <a:rPr lang="en-US" sz="900"/>
                        <a:t>. </a:t>
                      </a:r>
                    </a:p>
                  </a:txBody>
                  <a:tcPr marL="121920" marR="121920" marT="60960" marB="60960" anchor="ctr"/>
                </a:tc>
                <a:tc>
                  <a:txBody>
                    <a:bodyPr/>
                    <a:lstStyle/>
                    <a:p>
                      <a:r>
                        <a:rPr lang="en-US" sz="900"/>
                        <a:t> </a:t>
                      </a:r>
                      <a:r>
                        <a:rPr lang="en-US" sz="900" err="1"/>
                        <a:t>adw_dbo</a:t>
                      </a:r>
                      <a:r>
                        <a:rPr lang="en-US" sz="900"/>
                        <a:t>, </a:t>
                      </a:r>
                      <a:r>
                        <a:rPr lang="en-US" sz="900" err="1"/>
                        <a:t>adw_testScehma</a:t>
                      </a:r>
                      <a:endParaRPr lang="en-US" sz="90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1. Create schema mapping configuration file. This is a CSV file containing the following columns:</a:t>
            </a:r>
            <a:endParaRPr lang="en-US" sz="140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3066972"/>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2. Create input and out put directory configuration file</a:t>
            </a:r>
            <a:r>
              <a:rPr lang="en-US" sz="1400" b="1">
                <a:gradFill>
                  <a:gsLst>
                    <a:gs pos="0">
                      <a:srgbClr val="292929"/>
                    </a:gs>
                    <a:gs pos="86000">
                      <a:srgbClr val="292929"/>
                    </a:gs>
                  </a:gsLst>
                  <a:lin ang="5400000" scaled="0"/>
                </a:gradFill>
              </a:rPr>
              <a:t>. </a:t>
            </a:r>
            <a:r>
              <a:rPr lang="en-US" sz="1400">
                <a:gradFill>
                  <a:gsLst>
                    <a:gs pos="0">
                      <a:srgbClr val="292929"/>
                    </a:gs>
                    <a:gs pos="86000">
                      <a:srgbClr val="292929"/>
                    </a:gs>
                  </a:gsLst>
                  <a:lin ang="5400000" scaled="0"/>
                </a:gradFill>
              </a:rPr>
              <a:t>This is a CSV file containing the following columns:</a:t>
            </a:r>
            <a:endParaRPr lang="en-US" sz="140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extLst>
              <p:ext uri="{D42A27DB-BD31-4B8C-83A1-F6EECF244321}">
                <p14:modId xmlns:p14="http://schemas.microsoft.com/office/powerpoint/2010/main" val="3081389340"/>
              </p:ext>
            </p:extLst>
          </p:nvPr>
        </p:nvGraphicFramePr>
        <p:xfrm>
          <a:off x="559093" y="3810783"/>
          <a:ext cx="10264763" cy="1621408"/>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0">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rcDir</a:t>
                      </a:r>
                      <a:endParaRPr lang="en-US" sz="900"/>
                    </a:p>
                  </a:txBody>
                  <a:tcPr marL="121920" marR="121920" marT="60960" marB="60960" anchor="ctr"/>
                </a:tc>
                <a:tc>
                  <a:txBody>
                    <a:bodyPr/>
                    <a:lstStyle/>
                    <a:p>
                      <a:r>
                        <a:rPr lang="en-US" sz="90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100" b="0" i="0" u="none" strike="noStrike">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err="1"/>
                        <a:t>OutDir</a:t>
                      </a:r>
                      <a:endParaRPr lang="en-US" sz="900"/>
                    </a:p>
                  </a:txBody>
                  <a:tcPr marL="121920" marR="121920" marT="60960" marB="60960" anchor="ctr"/>
                </a:tc>
                <a:tc>
                  <a:txBody>
                    <a:bodyPr/>
                    <a:lstStyle/>
                    <a:p>
                      <a:r>
                        <a:rPr lang="en-US" sz="900"/>
                        <a:t>Output director of this step, where the scripts with new (SQLDW) scehmas will reside</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err="1"/>
                        <a:t>ObjectType</a:t>
                      </a:r>
                      <a:endParaRPr lang="en-US" sz="900"/>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505372"/>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3. Run the Python Program </a:t>
            </a:r>
            <a:r>
              <a:rPr lang="en-US" sz="1400" b="1">
                <a:gradFill>
                  <a:gsLst>
                    <a:gs pos="0">
                      <a:srgbClr val="292929"/>
                    </a:gs>
                    <a:gs pos="86000">
                      <a:srgbClr val="292929"/>
                    </a:gs>
                  </a:gsLst>
                  <a:lin ang="5400000" scaled="0"/>
                </a:gradFill>
              </a:rPr>
              <a:t>ChangeSchemas.py </a:t>
            </a:r>
            <a:r>
              <a:rPr lang="en-US" sz="1400">
                <a:gradFill>
                  <a:gsLst>
                    <a:gs pos="0">
                      <a:srgbClr val="292929"/>
                    </a:gs>
                    <a:gs pos="86000">
                      <a:srgbClr val="292929"/>
                    </a:gs>
                  </a:gsLst>
                  <a:lin ang="5400000" scaled="0"/>
                </a:gradFill>
              </a:rPr>
              <a:t>with prompted info</a:t>
            </a:r>
            <a:r>
              <a:rPr lang="en-US" sz="1400" b="1">
                <a:gradFill>
                  <a:gsLst>
                    <a:gs pos="0">
                      <a:srgbClr val="292929"/>
                    </a:gs>
                    <a:gs pos="86000">
                      <a:srgbClr val="292929"/>
                    </a:gs>
                  </a:gsLst>
                  <a:lin ang="5400000" scaled="0"/>
                </a:gradFill>
              </a:rPr>
              <a:t>. </a:t>
            </a:r>
            <a:endParaRPr lang="en-US" sz="1400">
              <a:solidFill>
                <a:schemeClr val="tx1"/>
              </a:solidFill>
            </a:endParaRPr>
          </a:p>
        </p:txBody>
      </p:sp>
    </p:spTree>
    <p:extLst>
      <p:ext uri="{BB962C8B-B14F-4D97-AF65-F5344CB8AC3E}">
        <p14:creationId xmlns:p14="http://schemas.microsoft.com/office/powerpoint/2010/main" val="418873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a:t>
            </a:r>
            <a:r>
              <a:rPr lang="en-US" sz="4000">
                <a:solidFill>
                  <a:srgbClr val="FFFFFF"/>
                </a:solidFill>
                <a:latin typeface="Segoe UI Light" panose="020B0502040204020203" pitchFamily="34" charset="0"/>
                <a:cs typeface="Segoe UI Light" panose="020B0502040204020203" pitchFamily="34" charset="0"/>
              </a:rPr>
              <a:t>) Change Schema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97316" y="1958890"/>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307177F9-261B-4D03-8A10-874EEC124056}"/>
              </a:ext>
            </a:extLst>
          </p:cNvPr>
          <p:cNvSpPr/>
          <p:nvPr/>
        </p:nvSpPr>
        <p:spPr bwMode="auto">
          <a:xfrm>
            <a:off x="379044" y="1053548"/>
            <a:ext cx="11219921" cy="25290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B7206E51-9398-4535-A104-6B46A105AD57}"/>
              </a:ext>
            </a:extLst>
          </p:cNvPr>
          <p:cNvSpPr/>
          <p:nvPr/>
        </p:nvSpPr>
        <p:spPr bwMode="auto">
          <a:xfrm>
            <a:off x="661880" y="1253752"/>
            <a:ext cx="11072903" cy="11014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The schema mapping configuration file needs to be created manually.  The default name is </a:t>
            </a:r>
            <a:r>
              <a:rPr lang="en-US" sz="1400" b="1">
                <a:solidFill>
                  <a:srgbClr val="5191CD"/>
                </a:solidFill>
              </a:rPr>
              <a:t>schemas.csv. </a:t>
            </a:r>
          </a:p>
          <a:p>
            <a:pPr lvl="0">
              <a:defRPr/>
            </a:pPr>
            <a:endParaRPr lang="en-US" sz="1400">
              <a:solidFill>
                <a:schemeClr val="tx1"/>
              </a:solidFill>
            </a:endParaRPr>
          </a:p>
          <a:p>
            <a:pPr lvl="0">
              <a:defRPr/>
            </a:pPr>
            <a:r>
              <a:rPr lang="en-US" sz="1400">
                <a:solidFill>
                  <a:schemeClr val="tx1"/>
                </a:solidFill>
              </a:rPr>
              <a:t>It is a simple step to create the CSV file by first creating contents in an excel file (.xlsx), and then save it to a CSV file (.csv).</a:t>
            </a:r>
          </a:p>
        </p:txBody>
      </p:sp>
      <p:sp>
        <p:nvSpPr>
          <p:cNvPr id="32" name="Rectangle 31">
            <a:extLst>
              <a:ext uri="{FF2B5EF4-FFF2-40B4-BE49-F238E27FC236}">
                <a16:creationId xmlns:a16="http://schemas.microsoft.com/office/drawing/2014/main" id="{8BC82733-9F0C-49D7-89A9-93743D11C873}"/>
              </a:ext>
            </a:extLst>
          </p:cNvPr>
          <p:cNvSpPr/>
          <p:nvPr/>
        </p:nvSpPr>
        <p:spPr bwMode="auto">
          <a:xfrm>
            <a:off x="909308" y="2223837"/>
            <a:ext cx="5215459" cy="624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Manually create this Sample schema mapping .</a:t>
            </a:r>
            <a:r>
              <a:rPr lang="en-US" sz="1400" err="1">
                <a:solidFill>
                  <a:schemeClr val="tx1"/>
                </a:solidFill>
              </a:rPr>
              <a:t>xslx</a:t>
            </a:r>
            <a:r>
              <a:rPr lang="en-US" sz="1400">
                <a:solidFill>
                  <a:schemeClr val="tx1"/>
                </a:solidFill>
              </a:rPr>
              <a:t> file: </a:t>
            </a:r>
          </a:p>
          <a:p>
            <a:pPr lvl="0">
              <a:defRPr/>
            </a:pPr>
            <a:r>
              <a:rPr lang="en-US" sz="1400" b="1">
                <a:solidFill>
                  <a:schemeClr val="tx1"/>
                </a:solidFill>
              </a:rPr>
              <a:t>File Name: </a:t>
            </a:r>
            <a:r>
              <a:rPr lang="en-US" sz="1400" b="1">
                <a:solidFill>
                  <a:srgbClr val="5191CD"/>
                </a:solidFill>
              </a:rPr>
              <a:t>schemas_sample.xlsx</a:t>
            </a:r>
          </a:p>
        </p:txBody>
      </p:sp>
      <p:sp>
        <p:nvSpPr>
          <p:cNvPr id="34" name="Arrow: Right 33">
            <a:extLst>
              <a:ext uri="{FF2B5EF4-FFF2-40B4-BE49-F238E27FC236}">
                <a16:creationId xmlns:a16="http://schemas.microsoft.com/office/drawing/2014/main" id="{3A0A0096-D47D-4825-9B16-9D8CC7BE5AFF}"/>
              </a:ext>
            </a:extLst>
          </p:cNvPr>
          <p:cNvSpPr/>
          <p:nvPr/>
        </p:nvSpPr>
        <p:spPr>
          <a:xfrm>
            <a:off x="5145356" y="4229830"/>
            <a:ext cx="2067400" cy="420331"/>
          </a:xfrm>
          <a:prstGeom prst="rightArrow">
            <a:avLst/>
          </a:prstGeom>
          <a:solidFill>
            <a:schemeClr val="accent2">
              <a:lumMod val="20000"/>
              <a:lumOff val="80000"/>
            </a:schemeClr>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C1CAAFC-228F-46EC-B08F-ADDB8E13036F}"/>
              </a:ext>
            </a:extLst>
          </p:cNvPr>
          <p:cNvSpPr/>
          <p:nvPr/>
        </p:nvSpPr>
        <p:spPr bwMode="auto">
          <a:xfrm>
            <a:off x="5081162" y="3435404"/>
            <a:ext cx="2131594" cy="6248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 Save As CSV File</a:t>
            </a:r>
          </a:p>
          <a:p>
            <a:pPr lvl="0">
              <a:defRPr/>
            </a:pPr>
            <a:r>
              <a:rPr lang="en-US" sz="1400">
                <a:solidFill>
                  <a:schemeClr val="tx1"/>
                </a:solidFill>
              </a:rPr>
              <a:t>“schemas_sample.csv”</a:t>
            </a:r>
            <a:br>
              <a:rPr lang="en-US" sz="1400">
                <a:solidFill>
                  <a:schemeClr val="tx1"/>
                </a:solidFill>
              </a:rPr>
            </a:br>
            <a:endParaRPr lang="en-US" sz="1400">
              <a:solidFill>
                <a:schemeClr val="tx1"/>
              </a:solidFill>
            </a:endParaRPr>
          </a:p>
        </p:txBody>
      </p:sp>
      <p:sp>
        <p:nvSpPr>
          <p:cNvPr id="37" name="Rectangle 36">
            <a:extLst>
              <a:ext uri="{FF2B5EF4-FFF2-40B4-BE49-F238E27FC236}">
                <a16:creationId xmlns:a16="http://schemas.microsoft.com/office/drawing/2014/main" id="{82B52BFC-9DDC-4955-AE75-87199A52C2EA}"/>
              </a:ext>
            </a:extLst>
          </p:cNvPr>
          <p:cNvSpPr/>
          <p:nvPr/>
        </p:nvSpPr>
        <p:spPr bwMode="auto">
          <a:xfrm>
            <a:off x="7381665" y="2175389"/>
            <a:ext cx="4083692" cy="7217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As Input to the Python ChangeSchemas.py. </a:t>
            </a:r>
          </a:p>
          <a:p>
            <a:pPr lvl="0">
              <a:defRPr/>
            </a:pPr>
            <a:r>
              <a:rPr lang="en-US" sz="1400" b="1">
                <a:solidFill>
                  <a:schemeClr val="tx1"/>
                </a:solidFill>
              </a:rPr>
              <a:t>File Name: </a:t>
            </a:r>
            <a:r>
              <a:rPr lang="en-US" sz="1400" b="1">
                <a:solidFill>
                  <a:srgbClr val="5191CD"/>
                </a:solidFill>
              </a:rPr>
              <a:t>schemas_sample.csv</a:t>
            </a:r>
          </a:p>
        </p:txBody>
      </p:sp>
      <p:pic>
        <p:nvPicPr>
          <p:cNvPr id="3" name="Picture 2">
            <a:extLst>
              <a:ext uri="{FF2B5EF4-FFF2-40B4-BE49-F238E27FC236}">
                <a16:creationId xmlns:a16="http://schemas.microsoft.com/office/drawing/2014/main" id="{A4213910-D3F1-49CC-8F4D-5E835C5B3091}"/>
              </a:ext>
            </a:extLst>
          </p:cNvPr>
          <p:cNvPicPr>
            <a:picLocks noChangeAspect="1"/>
          </p:cNvPicPr>
          <p:nvPr/>
        </p:nvPicPr>
        <p:blipFill>
          <a:blip r:embed="rId4"/>
          <a:stretch>
            <a:fillRect/>
          </a:stretch>
        </p:blipFill>
        <p:spPr>
          <a:xfrm>
            <a:off x="1044690" y="2973040"/>
            <a:ext cx="3694141" cy="2809410"/>
          </a:xfrm>
          <a:prstGeom prst="rect">
            <a:avLst/>
          </a:prstGeom>
        </p:spPr>
      </p:pic>
      <p:pic>
        <p:nvPicPr>
          <p:cNvPr id="4" name="Picture 3">
            <a:extLst>
              <a:ext uri="{FF2B5EF4-FFF2-40B4-BE49-F238E27FC236}">
                <a16:creationId xmlns:a16="http://schemas.microsoft.com/office/drawing/2014/main" id="{FE5C1DD4-CC7E-4E60-AD66-CD88D99404A3}"/>
              </a:ext>
            </a:extLst>
          </p:cNvPr>
          <p:cNvPicPr>
            <a:picLocks noChangeAspect="1"/>
          </p:cNvPicPr>
          <p:nvPr/>
        </p:nvPicPr>
        <p:blipFill>
          <a:blip r:embed="rId5"/>
          <a:stretch>
            <a:fillRect/>
          </a:stretch>
        </p:blipFill>
        <p:spPr>
          <a:xfrm>
            <a:off x="7499988" y="2920112"/>
            <a:ext cx="3298379" cy="2894577"/>
          </a:xfrm>
          <a:prstGeom prst="rect">
            <a:avLst/>
          </a:prstGeom>
        </p:spPr>
      </p:pic>
      <p:sp>
        <p:nvSpPr>
          <p:cNvPr id="30" name="Speech Bubble: Rectangle 29">
            <a:extLst>
              <a:ext uri="{FF2B5EF4-FFF2-40B4-BE49-F238E27FC236}">
                <a16:creationId xmlns:a16="http://schemas.microsoft.com/office/drawing/2014/main" id="{29032E11-304C-41DE-A7A9-F355DE9D2E52}"/>
              </a:ext>
            </a:extLst>
          </p:cNvPr>
          <p:cNvSpPr/>
          <p:nvPr/>
        </p:nvSpPr>
        <p:spPr>
          <a:xfrm>
            <a:off x="4681316" y="5804452"/>
            <a:ext cx="2615375" cy="784208"/>
          </a:xfrm>
          <a:prstGeom prst="wedgeRectCallout">
            <a:avLst>
              <a:gd name="adj1" fmla="val -128773"/>
              <a:gd name="adj2" fmla="val -139474"/>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Schema </a:t>
            </a:r>
            <a:r>
              <a:rPr kumimoji="0" lang="en-US" sz="1200" b="1" i="0" u="none" strike="noStrike" kern="0" cap="none" spc="0" normalizeH="0" baseline="0" noProof="0">
                <a:ln>
                  <a:noFill/>
                </a:ln>
                <a:solidFill>
                  <a:srgbClr val="292929"/>
                </a:solidFill>
                <a:effectLst/>
                <a:uLnTx/>
                <a:uFillTx/>
                <a:latin typeface="Segoe UI"/>
                <a:ea typeface="+mn-ea"/>
                <a:cs typeface="+mn-cs"/>
              </a:rPr>
              <a:t>CSS</a:t>
            </a:r>
            <a:r>
              <a:rPr lang="en-US" sz="1200" kern="0">
                <a:solidFill>
                  <a:srgbClr val="292929"/>
                </a:solidFill>
                <a:latin typeface="Segoe UI"/>
              </a:rPr>
              <a:t>  </a:t>
            </a:r>
            <a:r>
              <a:rPr kumimoji="0" lang="en-US" sz="1200" b="0" i="0" u="none" strike="noStrike" kern="0" cap="none" spc="0" normalizeH="0" baseline="0" noProof="0">
                <a:ln>
                  <a:noFill/>
                </a:ln>
                <a:solidFill>
                  <a:srgbClr val="292929"/>
                </a:solidFill>
                <a:effectLst/>
                <a:uLnTx/>
                <a:uFillTx/>
                <a:latin typeface="Segoe UI"/>
                <a:ea typeface="+mn-ea"/>
                <a:cs typeface="+mn-cs"/>
              </a:rPr>
              <a:t>in all 3 APS </a:t>
            </a:r>
            <a:r>
              <a:rPr kumimoji="0" lang="en-US" sz="1200" b="0" i="0" u="none" strike="noStrike" kern="0" cap="none" spc="0" normalizeH="0" baseline="0" noProof="0" err="1">
                <a:ln>
                  <a:noFill/>
                </a:ln>
                <a:solidFill>
                  <a:srgbClr val="292929"/>
                </a:solidFill>
                <a:effectLst/>
                <a:uLnTx/>
                <a:uFillTx/>
                <a:latin typeface="Segoe UI"/>
                <a:ea typeface="+mn-ea"/>
                <a:cs typeface="+mn-cs"/>
              </a:rPr>
              <a:t>DBs.</a:t>
            </a:r>
            <a:r>
              <a:rPr kumimoji="0" lang="en-US" sz="1200" b="0" i="0" u="none" strike="noStrike" kern="0" cap="none" spc="0" normalizeH="0" baseline="0" noProof="0">
                <a:ln>
                  <a:noFill/>
                </a:ln>
                <a:solidFill>
                  <a:srgbClr val="292929"/>
                </a:solidFill>
                <a:effectLst/>
                <a:uLnTx/>
                <a:uFillTx/>
                <a:latin typeface="Segoe UI"/>
                <a:ea typeface="+mn-ea"/>
                <a:cs typeface="+mn-cs"/>
              </a:rPr>
              <a:t> </a:t>
            </a:r>
          </a:p>
          <a:p>
            <a:pPr marL="0" marR="0" lvl="0" indent="0" defTabSz="1219120" eaLnBrk="1" fontAlgn="auto" latinLnBrk="0" hangingPunct="1">
              <a:lnSpc>
                <a:spcPct val="100000"/>
              </a:lnSpc>
              <a:spcBef>
                <a:spcPts val="0"/>
              </a:spcBef>
              <a:spcAft>
                <a:spcPts val="0"/>
              </a:spcAft>
              <a:buClrTx/>
              <a:buSzTx/>
              <a:buFontTx/>
              <a:buNone/>
              <a:tabLst/>
              <a:defRPr/>
            </a:pPr>
            <a:r>
              <a:rPr lang="en-US" sz="1200" kern="0">
                <a:solidFill>
                  <a:srgbClr val="292929"/>
                </a:solidFill>
                <a:latin typeface="Segoe UI"/>
              </a:rPr>
              <a:t>It is mapped to different names in SQLDW: </a:t>
            </a:r>
            <a:r>
              <a:rPr lang="en-US" sz="1200" b="1" kern="0">
                <a:solidFill>
                  <a:srgbClr val="292929"/>
                </a:solidFill>
                <a:latin typeface="Segoe UI"/>
              </a:rPr>
              <a:t>CSS_ST</a:t>
            </a:r>
            <a:r>
              <a:rPr lang="en-US" sz="1200" kern="0">
                <a:solidFill>
                  <a:srgbClr val="292929"/>
                </a:solidFill>
                <a:latin typeface="Segoe UI"/>
              </a:rPr>
              <a:t>, </a:t>
            </a:r>
            <a:r>
              <a:rPr lang="en-US" sz="1200" b="1" kern="0">
                <a:solidFill>
                  <a:srgbClr val="292929"/>
                </a:solidFill>
                <a:latin typeface="Segoe UI"/>
              </a:rPr>
              <a:t>CSS_DW</a:t>
            </a:r>
            <a:r>
              <a:rPr lang="en-US" sz="1200" kern="0">
                <a:solidFill>
                  <a:srgbClr val="292929"/>
                </a:solidFill>
                <a:latin typeface="Segoe UI"/>
              </a:rPr>
              <a:t>, </a:t>
            </a:r>
            <a:r>
              <a:rPr lang="en-US" sz="1200" b="1" kern="0">
                <a:solidFill>
                  <a:srgbClr val="292929"/>
                </a:solidFill>
                <a:latin typeface="Segoe UI"/>
              </a:rPr>
              <a:t>CSS_DM</a:t>
            </a:r>
            <a:endParaRPr kumimoji="0" lang="en-US" sz="1200" b="1"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68359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328015"/>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050323" y="1071779"/>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716930"/>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398923"/>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3225339" y="994836"/>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APS Scripts from Previous Step</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2836185" y="2011459"/>
            <a:ext cx="894490" cy="345671"/>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825611" y="2958914"/>
            <a:ext cx="1401786"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s </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Schema Mapping</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Input &amp; Output File Paths, and Schema Mapping configuration file.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6"/>
          <a:stretch>
            <a:fillRect/>
          </a:stretch>
        </p:blipFill>
        <p:spPr>
          <a:xfrm>
            <a:off x="1001598" y="5229743"/>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588699" y="4457144"/>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0 = Skip the</a:t>
            </a:r>
            <a:r>
              <a:rPr lang="en-US" sz="1400" kern="0">
                <a:solidFill>
                  <a:srgbClr val="292929"/>
                </a:solidFill>
                <a:latin typeface="Segoe UI"/>
              </a:rPr>
              <a:t> line</a:t>
            </a:r>
            <a:endParaRPr kumimoji="0" lang="en-US" sz="1400" b="0" i="0" u="none" strike="noStrike" kern="0" cap="none" spc="0" normalizeH="0" baseline="0" noProof="0">
              <a:ln>
                <a:noFill/>
              </a:ln>
              <a:solidFill>
                <a:srgbClr val="292929"/>
              </a:solidFill>
              <a:effectLst/>
              <a:uLnTx/>
              <a:uFillTx/>
              <a:latin typeface="Segoe UI"/>
              <a:ea typeface="+mn-ea"/>
              <a:cs typeface="+mn-cs"/>
            </a:endParaRP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9552508" y="4204762"/>
            <a:ext cx="2235301"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5298641" y="4209795"/>
            <a:ext cx="2242839"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input files.  These are the paths from previous step.</a:t>
            </a:r>
          </a:p>
        </p:txBody>
      </p:sp>
      <p:pic>
        <p:nvPicPr>
          <p:cNvPr id="36" name="Picture 35">
            <a:extLst>
              <a:ext uri="{FF2B5EF4-FFF2-40B4-BE49-F238E27FC236}">
                <a16:creationId xmlns:a16="http://schemas.microsoft.com/office/drawing/2014/main" id="{877915AC-1AC1-4DA2-9F09-50B585F4BDF0}"/>
              </a:ext>
            </a:extLst>
          </p:cNvPr>
          <p:cNvPicPr>
            <a:picLocks noChangeAspect="1"/>
          </p:cNvPicPr>
          <p:nvPr/>
        </p:nvPicPr>
        <p:blipFill>
          <a:blip r:embed="rId7"/>
          <a:stretch>
            <a:fillRect/>
          </a:stretch>
        </p:blipFill>
        <p:spPr>
          <a:xfrm>
            <a:off x="908450" y="2031281"/>
            <a:ext cx="810311" cy="952323"/>
          </a:xfrm>
          <a:prstGeom prst="rect">
            <a:avLst/>
          </a:prstGeom>
        </p:spPr>
      </p:pic>
      <p:sp>
        <p:nvSpPr>
          <p:cNvPr id="37" name="TextBox 36">
            <a:extLst>
              <a:ext uri="{FF2B5EF4-FFF2-40B4-BE49-F238E27FC236}">
                <a16:creationId xmlns:a16="http://schemas.microsoft.com/office/drawing/2014/main" id="{BB810C99-730C-4096-8914-CB8FA1D09CD8}"/>
              </a:ext>
            </a:extLst>
          </p:cNvPr>
          <p:cNvSpPr txBox="1"/>
          <p:nvPr/>
        </p:nvSpPr>
        <p:spPr>
          <a:xfrm>
            <a:off x="7764467" y="2055532"/>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Scripts with SQLDW Schema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956B25CD-D873-4019-BFBF-E4BDD9D9608A}"/>
              </a:ext>
            </a:extLst>
          </p:cNvPr>
          <p:cNvSpPr txBox="1"/>
          <p:nvPr/>
        </p:nvSpPr>
        <p:spPr>
          <a:xfrm>
            <a:off x="7764467" y="1053304"/>
            <a:ext cx="2655177"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Notes:</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The output Scripts from this step are ready for review, test, and necessary manual changes. </a:t>
            </a:r>
          </a:p>
        </p:txBody>
      </p:sp>
      <p:sp>
        <p:nvSpPr>
          <p:cNvPr id="2" name="Rectangle 1">
            <a:extLst>
              <a:ext uri="{FF2B5EF4-FFF2-40B4-BE49-F238E27FC236}">
                <a16:creationId xmlns:a16="http://schemas.microsoft.com/office/drawing/2014/main" id="{73519882-B7B5-4F43-B3C4-7B1BE2B7B013}"/>
              </a:ext>
            </a:extLst>
          </p:cNvPr>
          <p:cNvSpPr/>
          <p:nvPr/>
        </p:nvSpPr>
        <p:spPr>
          <a:xfrm>
            <a:off x="3759495" y="3529943"/>
            <a:ext cx="5240126" cy="646331"/>
          </a:xfrm>
          <a:prstGeom prst="rect">
            <a:avLst/>
          </a:prstGeom>
        </p:spPr>
        <p:txBody>
          <a:bodyPr wrap="square">
            <a:spAutoFit/>
          </a:bodyPr>
          <a:lstStyle/>
          <a:p>
            <a:pPr lvl="0" defTabSz="1219120">
              <a:defRPr/>
            </a:pPr>
            <a:r>
              <a:rPr lang="en-US" sz="1200" b="1" kern="0">
                <a:latin typeface="Calibri" panose="020F0502020204030204" pitchFamily="34" charset="0"/>
                <a:cs typeface="Calibri" panose="020F0502020204030204" pitchFamily="34" charset="0"/>
              </a:rPr>
              <a:t>ChangeSchemas.py</a:t>
            </a:r>
          </a:p>
          <a:p>
            <a:pPr defTabSz="1219120">
              <a:defRPr/>
            </a:pPr>
            <a:r>
              <a:rPr lang="en-US" sz="1200" kern="0">
                <a:solidFill>
                  <a:srgbClr val="292929"/>
                </a:solidFill>
                <a:latin typeface="Calibri" panose="020F0502020204030204"/>
              </a:rPr>
              <a:t>The program performs schema name change and other syntactical changes </a:t>
            </a:r>
          </a:p>
          <a:p>
            <a:pPr defTabSz="1219120">
              <a:defRPr/>
            </a:pPr>
            <a:r>
              <a:rPr lang="en-US" sz="1200" kern="0">
                <a:solidFill>
                  <a:srgbClr val="292929"/>
                </a:solidFill>
                <a:latin typeface="Calibri" panose="020F0502020204030204"/>
              </a:rPr>
              <a:t>to prepare code to run in SQLDW.  </a:t>
            </a:r>
          </a:p>
        </p:txBody>
      </p:sp>
      <p:sp>
        <p:nvSpPr>
          <p:cNvPr id="45" name="Arrow: Right 44">
            <a:extLst>
              <a:ext uri="{FF2B5EF4-FFF2-40B4-BE49-F238E27FC236}">
                <a16:creationId xmlns:a16="http://schemas.microsoft.com/office/drawing/2014/main" id="{F6F1ED79-5914-4F7D-B71E-3000D68FC5D3}"/>
              </a:ext>
            </a:extLst>
          </p:cNvPr>
          <p:cNvSpPr/>
          <p:nvPr/>
        </p:nvSpPr>
        <p:spPr>
          <a:xfrm>
            <a:off x="2393178" y="2710635"/>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B7D44D19-3C48-41D8-8071-E7AA8197144A}"/>
              </a:ext>
            </a:extLst>
          </p:cNvPr>
          <p:cNvPicPr>
            <a:picLocks noChangeAspect="1"/>
          </p:cNvPicPr>
          <p:nvPr/>
        </p:nvPicPr>
        <p:blipFill>
          <a:blip r:embed="rId7"/>
          <a:stretch>
            <a:fillRect/>
          </a:stretch>
        </p:blipFill>
        <p:spPr>
          <a:xfrm>
            <a:off x="693476" y="2022472"/>
            <a:ext cx="810311" cy="952323"/>
          </a:xfrm>
          <a:prstGeom prst="rect">
            <a:avLst/>
          </a:prstGeom>
        </p:spPr>
      </p:pic>
    </p:spTree>
    <p:extLst>
      <p:ext uri="{BB962C8B-B14F-4D97-AF65-F5344CB8AC3E}">
        <p14:creationId xmlns:p14="http://schemas.microsoft.com/office/powerpoint/2010/main" val="97533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600">
                <a:solidFill>
                  <a:srgbClr val="FFFFFF"/>
                </a:solidFill>
                <a:latin typeface="Segoe UI Light" panose="020B0502040204020203" pitchFamily="34" charset="0"/>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xporting data from APS to </a:t>
            </a:r>
            <a:r>
              <a:rPr kumimoji="0" lang="en-US" sz="14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rPr>
              <a:t>SQLDW</a:t>
            </a: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can be accomplished using Polybase.  This script generates the export and import statements necessary to move the data. </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Create a config file in the format below (default name: </a:t>
            </a:r>
            <a:r>
              <a:rPr lang="en-US" sz="1400" kern="0" dirty="0" err="1">
                <a:latin typeface="Calibri" panose="020F0502020204030204" pitchFamily="34" charset="0"/>
                <a:cs typeface="Calibri" panose="020F0502020204030204" pitchFamily="34" charset="0"/>
              </a:rPr>
              <a:t>ScriptCreateExportImportStatementsDriver</a:t>
            </a:r>
            <a:r>
              <a:rPr lang="en-US" sz="1400" kern="0" dirty="0" err="1">
                <a:solidFill>
                  <a:srgbClr val="292929"/>
                </a:solidFill>
                <a:latin typeface="Calibri" panose="020F0502020204030204" pitchFamily="34" charset="0"/>
                <a:cs typeface="Calibri" panose="020F0502020204030204" pitchFamily="34" charset="0"/>
              </a:rPr>
              <a:t>.cvs</a:t>
            </a:r>
            <a:r>
              <a:rPr lang="en-US" sz="1400" b="1" kern="0" dirty="0">
                <a:gradFill>
                  <a:gsLst>
                    <a:gs pos="0">
                      <a:srgbClr val="292929"/>
                    </a:gs>
                    <a:gs pos="86000">
                      <a:srgbClr val="292929"/>
                    </a:gs>
                  </a:gsLst>
                  <a:lin ang="5400000" scaled="0"/>
                </a:gradFill>
                <a:latin typeface="Segoe UI"/>
                <a:cs typeface="Calibri" panose="020F0502020204030204" pitchFamily="34" charset="0"/>
              </a:rPr>
              <a:t>)</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Run the script ScriptCreateExportImportStatementDriver.ps1.  </a:t>
            </a:r>
            <a:r>
              <a:rPr lang="en-US" sz="1400" u="sng" dirty="0">
                <a:gradFill>
                  <a:gsLst>
                    <a:gs pos="0">
                      <a:srgbClr val="292929"/>
                    </a:gs>
                    <a:gs pos="86000">
                      <a:srgbClr val="292929"/>
                    </a:gs>
                  </a:gsLst>
                  <a:lin ang="5400000" scaled="0"/>
                </a:gradFill>
                <a:latin typeface="Segoe UI"/>
              </a:rPr>
              <a:t>The script does not connect to the APS or </a:t>
            </a:r>
            <a:r>
              <a:rPr lang="en-US" sz="1400" u="sng" dirty="0" err="1">
                <a:gradFill>
                  <a:gsLst>
                    <a:gs pos="0">
                      <a:srgbClr val="292929"/>
                    </a:gs>
                    <a:gs pos="86000">
                      <a:srgbClr val="292929"/>
                    </a:gs>
                  </a:gsLst>
                  <a:lin ang="5400000" scaled="0"/>
                </a:gradFill>
                <a:latin typeface="Segoe UI"/>
              </a:rPr>
              <a:t>SQLDW</a:t>
            </a:r>
            <a:r>
              <a:rPr lang="en-US" sz="1400" dirty="0">
                <a:gradFill>
                  <a:gsLst>
                    <a:gs pos="0">
                      <a:srgbClr val="292929"/>
                    </a:gs>
                    <a:gs pos="86000">
                      <a:srgbClr val="292929"/>
                    </a:gs>
                  </a:gsLst>
                  <a:lin ang="5400000" scaled="0"/>
                </a:gradFill>
                <a:latin typeface="Segoe UI"/>
              </a:rPr>
              <a:t>.  The only input for this script is the </a:t>
            </a:r>
            <a:r>
              <a:rPr lang="en-US" sz="1400" dirty="0" err="1">
                <a:gradFill>
                  <a:gsLst>
                    <a:gs pos="0">
                      <a:srgbClr val="292929"/>
                    </a:gs>
                    <a:gs pos="86000">
                      <a:srgbClr val="292929"/>
                    </a:gs>
                  </a:gsLst>
                  <a:lin ang="5400000" scaled="0"/>
                </a:gradFill>
                <a:latin typeface="Segoe UI"/>
              </a:rPr>
              <a:t>config.csv</a:t>
            </a:r>
            <a:r>
              <a:rPr lang="en-US" sz="1400" dirty="0">
                <a:gradFill>
                  <a:gsLst>
                    <a:gs pos="0">
                      <a:srgbClr val="292929"/>
                    </a:gs>
                    <a:gs pos="86000">
                      <a:srgbClr val="292929"/>
                    </a:gs>
                  </a:gsLst>
                  <a:lin ang="5400000" scaled="0"/>
                </a:gradFill>
                <a:latin typeface="Segoe UI"/>
              </a:rPr>
              <a:t> file</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213482075"/>
              </p:ext>
            </p:extLst>
          </p:nvPr>
        </p:nvGraphicFramePr>
        <p:xfrm>
          <a:off x="205464" y="2360097"/>
          <a:ext cx="11781072" cy="4328679"/>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DatabaseName</a:t>
                      </a:r>
                    </a:p>
                  </a:txBody>
                  <a:tcPr marL="4763" marR="4763" marT="4763" marB="0" anchor="ctr"/>
                </a:tc>
                <a:tc>
                  <a:txBody>
                    <a:bodyPr/>
                    <a:lstStyle/>
                    <a:p>
                      <a:r>
                        <a:rPr lang="en-US" sz="800"/>
                        <a:t>Name of the database in APS</a:t>
                      </a:r>
                    </a:p>
                  </a:txBody>
                  <a:tcPr marL="121920" marR="121920" marT="60960" marB="60960" anchor="ctr"/>
                </a:tc>
                <a:tc>
                  <a:txBody>
                    <a:bodyPr/>
                    <a:lstStyle/>
                    <a:p>
                      <a:r>
                        <a:rPr lang="en-US" sz="800"/>
                        <a:t>AdventureWorks</a:t>
                      </a:r>
                    </a:p>
                  </a:txBody>
                  <a:tcPr marL="121920" marR="121920" marT="60960" marB="60960" anchor="ctr"/>
                </a:tc>
                <a:extLst>
                  <a:ext uri="{0D108BD9-81ED-4DB2-BD59-A6C34878D82A}">
                    <a16:rowId xmlns:a16="http://schemas.microsoft.com/office/drawing/2014/main" val="2068380889"/>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SourceSchemaName</a:t>
                      </a:r>
                    </a:p>
                  </a:txBody>
                  <a:tcPr marL="4763" marR="4763" marT="4763" marB="0" anchor="ctr"/>
                </a:tc>
                <a:tc>
                  <a:txBody>
                    <a:bodyPr/>
                    <a:lstStyle/>
                    <a:p>
                      <a:r>
                        <a:rPr lang="en-US" sz="800"/>
                        <a:t>Name of the APS/Source Schema</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SourceObjectName</a:t>
                      </a:r>
                    </a:p>
                  </a:txBody>
                  <a:tcPr marL="4763" marR="4763" marT="4763" marB="0" anchor="ctr"/>
                </a:tc>
                <a:tc>
                  <a:txBody>
                    <a:bodyPr/>
                    <a:lstStyle/>
                    <a:p>
                      <a:r>
                        <a:rPr lang="en-US" sz="800"/>
                        <a:t>Name of the source object to work with</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estSchemaName</a:t>
                      </a:r>
                    </a:p>
                  </a:txBody>
                  <a:tcPr marL="4763" marR="4763" marT="4763" marB="0" anchor="ctr"/>
                </a:tc>
                <a:tc>
                  <a:txBody>
                    <a:bodyPr/>
                    <a:lstStyle/>
                    <a:p>
                      <a:r>
                        <a:rPr lang="en-US" sz="800"/>
                        <a:t>Name of the destination schema on SQLDW</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DestObjectName</a:t>
                      </a:r>
                    </a:p>
                  </a:txBody>
                  <a:tcPr marL="4763" marR="4763" marT="4763" marB="0" anchor="ctr"/>
                </a:tc>
                <a:tc>
                  <a:txBody>
                    <a:bodyPr/>
                    <a:lstStyle/>
                    <a:p>
                      <a:r>
                        <a:rPr lang="en-US" sz="800"/>
                        <a:t>Name of the destination object</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aSource</a:t>
                      </a:r>
                    </a:p>
                  </a:txBody>
                  <a:tcPr marL="4763" marR="4763" marT="4763" marB="0" anchor="ctr"/>
                </a:tc>
                <a:tc>
                  <a:txBody>
                    <a:bodyPr/>
                    <a:lstStyle/>
                    <a:p>
                      <a:r>
                        <a:rPr lang="en-US" sz="800"/>
                        <a:t>Name of the data source to use.  This must already be created</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ExportLocation</a:t>
                      </a:r>
                    </a:p>
                  </a:txBody>
                  <a:tcPr marL="4763" marR="4763" marT="4763" marB="0" anchor="ctr"/>
                </a:tc>
                <a:tc>
                  <a:txBody>
                    <a:bodyPr/>
                    <a:lstStyle/>
                    <a:p>
                      <a:r>
                        <a:rPr lang="en-US" sz="800"/>
                        <a:t>Path to the export the data to on blobstorage.  Each Table should have its own file location</a:t>
                      </a:r>
                    </a:p>
                  </a:txBody>
                  <a:tcPr marL="121920" marR="121920" marT="60960" marB="60960" anchor="ctr"/>
                </a:tc>
                <a:tc>
                  <a:txBody>
                    <a:bodyPr/>
                    <a:lstStyle/>
                    <a:p>
                      <a:r>
                        <a:rPr lang="en-US" sz="800"/>
                        <a:t>/APS_Export/adw/dbo-DimCustomer/ or /APS_Export/stdb/dbo-DimCustomer</a:t>
                      </a:r>
                    </a:p>
                  </a:txBody>
                  <a:tcPr marL="121920" marR="121920" marT="60960" marB="60960" anchor="ctr"/>
                </a:tc>
                <a:extLst>
                  <a:ext uri="{0D108BD9-81ED-4DB2-BD59-A6C34878D82A}">
                    <a16:rowId xmlns:a16="http://schemas.microsoft.com/office/drawing/2014/main" val="508230191"/>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nsertFilePath</a:t>
                      </a:r>
                    </a:p>
                  </a:txBody>
                  <a:tcPr marL="4763" marR="4763" marT="4763" marB="0" anchor="ctr"/>
                </a:tc>
                <a:tc>
                  <a:txBody>
                    <a:bodyPr/>
                    <a:lstStyle/>
                    <a:p>
                      <a:r>
                        <a:rPr lang="en-US" sz="800"/>
                        <a:t>Path to write the import statements</a:t>
                      </a:r>
                    </a:p>
                  </a:txBody>
                  <a:tcPr marL="121920" marR="121920" marT="60960" marB="60960" anchor="ctr"/>
                </a:tc>
                <a:tc>
                  <a:txBody>
                    <a:bodyPr/>
                    <a:lstStyle/>
                    <a:p>
                      <a:r>
                        <a:rPr lang="en-US" sz="800"/>
                        <a:t>C:\Import\SQLDWScripts\</a:t>
                      </a:r>
                    </a:p>
                  </a:txBody>
                  <a:tcPr marL="121920" marR="121920" marT="60960" marB="60960" anchor="ctr"/>
                </a:tc>
                <a:extLst>
                  <a:ext uri="{0D108BD9-81ED-4DB2-BD59-A6C34878D82A}">
                    <a16:rowId xmlns:a16="http://schemas.microsoft.com/office/drawing/2014/main" val="4249797493"/>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mportSchema</a:t>
                      </a:r>
                    </a:p>
                  </a:txBody>
                  <a:tcPr marL="4763" marR="4763" marT="4763" marB="0" anchor="ctr"/>
                </a:tc>
                <a:tc>
                  <a:txBody>
                    <a:bodyPr/>
                    <a:lstStyle/>
                    <a:p>
                      <a:r>
                        <a:rPr lang="en-US" sz="800"/>
                        <a:t>Name of the new schema on SQLDW</a:t>
                      </a:r>
                    </a:p>
                  </a:txBody>
                  <a:tcPr marL="121920" marR="121920" marT="60960" marB="60960" anchor="ctr"/>
                </a:tc>
                <a:tc>
                  <a:txBody>
                    <a:bodyPr/>
                    <a:lstStyle/>
                    <a:p>
                      <a:r>
                        <a:rPr lang="en-US" sz="800" err="1"/>
                        <a:t>dbo</a:t>
                      </a:r>
                      <a:endParaRPr lang="en-US" sz="800"/>
                    </a:p>
                  </a:txBody>
                  <a:tcPr marL="121920" marR="121920" marT="60960" marB="60960" anchor="ctr"/>
                </a:tc>
                <a:extLst>
                  <a:ext uri="{0D108BD9-81ED-4DB2-BD59-A6C34878D82A}">
                    <a16:rowId xmlns:a16="http://schemas.microsoft.com/office/drawing/2014/main" val="3996772045"/>
                  </a:ext>
                </a:extLst>
              </a:tr>
            </a:tbl>
          </a:graphicData>
        </a:graphic>
      </p:graphicFrame>
    </p:spTree>
    <p:extLst>
      <p:ext uri="{BB962C8B-B14F-4D97-AF65-F5344CB8AC3E}">
        <p14:creationId xmlns:p14="http://schemas.microsoft.com/office/powerpoint/2010/main" val="381556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7612717" y="201189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ETAS </a:t>
            </a:r>
            <a:r>
              <a:rPr kumimoji="0" lang="en-US" sz="1200" b="1" i="0" u="none" strike="noStrike" kern="0" cap="none" spc="0" normalizeH="0" baseline="0" noProof="0" err="1">
                <a:ln>
                  <a:noFill/>
                </a:ln>
                <a:solidFill>
                  <a:srgbClr val="292929"/>
                </a:solidFill>
                <a:effectLst/>
                <a:uLnTx/>
                <a:uFillTx/>
              </a:rPr>
              <a:t>Statement.sql</a:t>
            </a:r>
            <a:endParaRPr kumimoji="0" lang="en-US" sz="1200" b="1" i="0" u="none" strike="noStrike" kern="0" cap="none" spc="0" normalizeH="0" baseline="0" noProof="0">
              <a:ln>
                <a:noFill/>
              </a:ln>
              <a:solidFill>
                <a:srgbClr val="292929"/>
              </a:solidFill>
              <a:effectLst/>
              <a:uLnTx/>
              <a:uFillTx/>
            </a:endParaRPr>
          </a:p>
        </p:txBody>
      </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1994" y="19445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474295" y="3001102"/>
            <a:ext cx="3994650"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lvl="0" indent="-228594" defTabSz="1219120">
              <a:buFont typeface="Arial" panose="020B0604020202020204" pitchFamily="34" charset="0"/>
              <a:buChar char="•"/>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a:t>
            </a:r>
            <a:r>
              <a:rPr lang="en-US" sz="1200" kern="0" err="1">
                <a:latin typeface="Calibri" panose="020F0502020204030204" pitchFamily="34" charset="0"/>
                <a:cs typeface="Calibri" panose="020F0502020204030204" pitchFamily="34" charset="0"/>
              </a:rPr>
              <a:t>ScriptCreateExportImportStatementsDriver</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a:t>
            </a:r>
            <a:r>
              <a:rPr kumimoji="0" lang="en-US" sz="1200" i="0" u="none" strike="noStrike" kern="0" cap="none" spc="0" normalizeH="0" baseline="0" noProof="0" err="1">
                <a:ln>
                  <a:noFill/>
                </a:ln>
                <a:solidFill>
                  <a:srgbClr val="292929"/>
                </a:solidFill>
                <a:effectLst/>
                <a:uLnTx/>
                <a:uFillTx/>
                <a:latin typeface="Calibri" panose="020F0502020204030204" pitchFamily="34" charset="0"/>
                <a:cs typeface="Calibri" panose="020F0502020204030204" pitchFamily="34" charset="0"/>
              </a:rPr>
              <a:t>cvs</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 </a:t>
            </a:r>
            <a:r>
              <a:rPr kumimoji="0" lang="en-US" sz="1200" i="0" u="none" strike="noStrike" kern="0" cap="none" spc="0" normalizeH="0" baseline="0" noProof="0">
                <a:ln>
                  <a:noFill/>
                </a:ln>
                <a:solidFill>
                  <a:srgbClr val="292929"/>
                </a:solidFill>
                <a:effectLst/>
                <a:uLnTx/>
                <a:uFillTx/>
                <a:latin typeface="Calibri" panose="020F0502020204030204"/>
              </a:rPr>
              <a:t>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rot="20675281">
            <a:off x="6085086" y="1839369"/>
            <a:ext cx="1467264"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5"/>
          <a:stretch>
            <a:fillRect/>
          </a:stretch>
        </p:blipFill>
        <p:spPr>
          <a:xfrm>
            <a:off x="7942267" y="1089486"/>
            <a:ext cx="810311" cy="952323"/>
          </a:xfrm>
          <a:prstGeom prst="rect">
            <a:avLst/>
          </a:prstGeom>
        </p:spPr>
      </p:pic>
      <p:sp>
        <p:nvSpPr>
          <p:cNvPr id="52" name="Arrow: Right 51">
            <a:extLst>
              <a:ext uri="{FF2B5EF4-FFF2-40B4-BE49-F238E27FC236}">
                <a16:creationId xmlns:a16="http://schemas.microsoft.com/office/drawing/2014/main" id="{F051F300-EC17-4889-A0ED-300D475178C0}"/>
              </a:ext>
            </a:extLst>
          </p:cNvPr>
          <p:cNvSpPr/>
          <p:nvPr/>
        </p:nvSpPr>
        <p:spPr>
          <a:xfrm>
            <a:off x="3474295" y="217580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88D11C86-6D6F-4C93-9F6F-67835769E560}"/>
              </a:ext>
            </a:extLst>
          </p:cNvPr>
          <p:cNvSpPr txBox="1"/>
          <p:nvPr/>
        </p:nvSpPr>
        <p:spPr>
          <a:xfrm>
            <a:off x="2305623" y="2841534"/>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703500" y="3316259"/>
            <a:ext cx="223530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InsertIntoStatement.sql</a:t>
            </a:r>
            <a:endParaRPr kumimoji="0" lang="en-US" sz="1200" b="1" i="0" u="none" strike="noStrike" kern="0" cap="none" spc="0" normalizeH="0" baseline="0" noProof="0">
              <a:ln>
                <a:noFill/>
              </a:ln>
              <a:solidFill>
                <a:srgbClr val="292929"/>
              </a:solidFill>
              <a:effectLst/>
              <a:uLnTx/>
              <a:uFillTx/>
            </a:endParaRPr>
          </a:p>
        </p:txBody>
      </p:sp>
      <p:sp>
        <p:nvSpPr>
          <p:cNvPr id="58" name="Arrow: Right 57">
            <a:extLst>
              <a:ext uri="{FF2B5EF4-FFF2-40B4-BE49-F238E27FC236}">
                <a16:creationId xmlns:a16="http://schemas.microsoft.com/office/drawing/2014/main" id="{88175C1B-3FAC-48EC-B519-530EAC397F01}"/>
              </a:ext>
            </a:extLst>
          </p:cNvPr>
          <p:cNvSpPr/>
          <p:nvPr/>
        </p:nvSpPr>
        <p:spPr>
          <a:xfrm rot="579008">
            <a:off x="6127803" y="2479312"/>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9" name="Picture 58">
            <a:extLst>
              <a:ext uri="{FF2B5EF4-FFF2-40B4-BE49-F238E27FC236}">
                <a16:creationId xmlns:a16="http://schemas.microsoft.com/office/drawing/2014/main" id="{056F0E78-BD73-4320-81B4-F874007138AF}"/>
              </a:ext>
            </a:extLst>
          </p:cNvPr>
          <p:cNvPicPr>
            <a:picLocks noChangeAspect="1"/>
          </p:cNvPicPr>
          <p:nvPr/>
        </p:nvPicPr>
        <p:blipFill>
          <a:blip r:embed="rId5"/>
          <a:stretch>
            <a:fillRect/>
          </a:stretch>
        </p:blipFill>
        <p:spPr>
          <a:xfrm>
            <a:off x="7859570" y="2431938"/>
            <a:ext cx="810311" cy="952323"/>
          </a:xfrm>
          <a:prstGeom prst="rect">
            <a:avLst/>
          </a:prstGeom>
        </p:spPr>
      </p:pic>
      <p:pic>
        <p:nvPicPr>
          <p:cNvPr id="33" name="Picture 32">
            <a:extLst>
              <a:ext uri="{FF2B5EF4-FFF2-40B4-BE49-F238E27FC236}">
                <a16:creationId xmlns:a16="http://schemas.microsoft.com/office/drawing/2014/main" id="{3AF673B7-9B25-4DF2-B769-925F032641B2}"/>
              </a:ext>
            </a:extLst>
          </p:cNvPr>
          <p:cNvPicPr>
            <a:picLocks noChangeAspect="1"/>
          </p:cNvPicPr>
          <p:nvPr/>
        </p:nvPicPr>
        <p:blipFill>
          <a:blip r:embed="rId5"/>
          <a:stretch>
            <a:fillRect/>
          </a:stretch>
        </p:blipFill>
        <p:spPr>
          <a:xfrm>
            <a:off x="2354216" y="1928740"/>
            <a:ext cx="810311" cy="952323"/>
          </a:xfrm>
          <a:prstGeom prst="rect">
            <a:avLst/>
          </a:prstGeom>
        </p:spPr>
      </p:pic>
      <p:pic>
        <p:nvPicPr>
          <p:cNvPr id="2" name="Picture 1">
            <a:extLst>
              <a:ext uri="{FF2B5EF4-FFF2-40B4-BE49-F238E27FC236}">
                <a16:creationId xmlns:a16="http://schemas.microsoft.com/office/drawing/2014/main" id="{93C98187-68A4-45EA-BB80-659D6E94A630}"/>
              </a:ext>
            </a:extLst>
          </p:cNvPr>
          <p:cNvPicPr>
            <a:picLocks noChangeAspect="1"/>
          </p:cNvPicPr>
          <p:nvPr/>
        </p:nvPicPr>
        <p:blipFill>
          <a:blip r:embed="rId6"/>
          <a:stretch>
            <a:fillRect/>
          </a:stretch>
        </p:blipFill>
        <p:spPr>
          <a:xfrm>
            <a:off x="295457" y="4214123"/>
            <a:ext cx="11524420" cy="2031067"/>
          </a:xfrm>
          <a:prstGeom prst="rect">
            <a:avLst/>
          </a:prstGeom>
        </p:spPr>
      </p:pic>
      <p:sp>
        <p:nvSpPr>
          <p:cNvPr id="36" name="Speech Bubble: Rectangle 35">
            <a:extLst>
              <a:ext uri="{FF2B5EF4-FFF2-40B4-BE49-F238E27FC236}">
                <a16:creationId xmlns:a16="http://schemas.microsoft.com/office/drawing/2014/main" id="{6B13ADC1-0F89-40F7-B1E4-C1590B269FCB}"/>
              </a:ext>
            </a:extLst>
          </p:cNvPr>
          <p:cNvSpPr/>
          <p:nvPr/>
        </p:nvSpPr>
        <p:spPr>
          <a:xfrm>
            <a:off x="571856" y="3423246"/>
            <a:ext cx="1407625" cy="340024"/>
          </a:xfrm>
          <a:prstGeom prst="wedgeRectCallout">
            <a:avLst>
              <a:gd name="adj1" fmla="val 52925"/>
              <a:gd name="adj2" fmla="val 19192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Output File Path</a:t>
            </a:r>
          </a:p>
        </p:txBody>
      </p:sp>
      <p:sp>
        <p:nvSpPr>
          <p:cNvPr id="34" name="Speech Bubble: Rectangle 33">
            <a:extLst>
              <a:ext uri="{FF2B5EF4-FFF2-40B4-BE49-F238E27FC236}">
                <a16:creationId xmlns:a16="http://schemas.microsoft.com/office/drawing/2014/main" id="{CF6098F2-155C-4EC0-BB5B-0EC597BFAF7B}"/>
              </a:ext>
            </a:extLst>
          </p:cNvPr>
          <p:cNvSpPr/>
          <p:nvPr/>
        </p:nvSpPr>
        <p:spPr>
          <a:xfrm>
            <a:off x="10173356" y="1979891"/>
            <a:ext cx="1886270" cy="1923799"/>
          </a:xfrm>
          <a:prstGeom prst="wedgeRectCallout">
            <a:avLst>
              <a:gd name="adj1" fmla="val -133908"/>
              <a:gd name="adj2" fmla="val 67458"/>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Var} is a configurable variable that can be used in any script when using the deployment script in step 6</a:t>
            </a:r>
          </a:p>
          <a:p>
            <a:pPr lvl="0" defTabSz="1219120">
              <a:defRPr/>
            </a:pPr>
            <a:r>
              <a:rPr lang="en-US" sz="1400" kern="0">
                <a:solidFill>
                  <a:srgbClr val="292929"/>
                </a:solidFill>
              </a:rPr>
              <a:t>Example:  Location for an external table data</a:t>
            </a:r>
          </a:p>
        </p:txBody>
      </p:sp>
    </p:spTree>
    <p:extLst>
      <p:ext uri="{BB962C8B-B14F-4D97-AF65-F5344CB8AC3E}">
        <p14:creationId xmlns:p14="http://schemas.microsoft.com/office/powerpoint/2010/main" val="306557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rPr>
              <a:t>After the data </a:t>
            </a:r>
            <a:r>
              <a:rPr lang="en-US" sz="1400">
                <a:gradFill>
                  <a:gsLst>
                    <a:gs pos="0">
                      <a:srgbClr val="292929"/>
                    </a:gs>
                    <a:gs pos="86000">
                      <a:srgbClr val="292929"/>
                    </a:gs>
                  </a:gsLst>
                  <a:lin ang="5400000" scaled="0"/>
                </a:gradFill>
                <a:latin typeface="Segoe UI"/>
              </a:rPr>
              <a:t>has been exported from APS, the data now needs to be inserted into SQLDW.  Before this can occur, the external table needs to be created on SQLDW.  This is completed by using the create table statements and converting the statement into an external table.</a:t>
            </a: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Create a config.csv file in the format below.</a:t>
            </a: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Run the script ScriptCreateExternalTableDriver_V1.ps1.  The script does not connect to the APS or SQLDW.  The only input for this script is the config.csv file</a:t>
            </a: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90455300"/>
              </p:ext>
            </p:extLst>
          </p:nvPr>
        </p:nvGraphicFramePr>
        <p:xfrm>
          <a:off x="205464" y="2386888"/>
          <a:ext cx="11781072" cy="3463317"/>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InputFolderPath</a:t>
                      </a:r>
                    </a:p>
                  </a:txBody>
                  <a:tcPr marL="4763" marR="4763" marT="4763" marB="0" anchor="ctr"/>
                </a:tc>
                <a:tc>
                  <a:txBody>
                    <a:bodyPr/>
                    <a:lstStyle/>
                    <a:p>
                      <a:r>
                        <a:rPr lang="en-US" sz="800"/>
                        <a:t>Path to the create Table output from step 2</a:t>
                      </a:r>
                    </a:p>
                  </a:txBody>
                  <a:tcPr marL="121920" marR="121920" marT="60960" marB="60960" anchor="ctr"/>
                </a:tc>
                <a:tc>
                  <a:txBody>
                    <a:bodyPr/>
                    <a:lstStyle/>
                    <a:p>
                      <a:r>
                        <a:rPr lang="en-US" sz="800"/>
                        <a:t>C:\Temp\NewDDL\</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InputFileName</a:t>
                      </a:r>
                    </a:p>
                  </a:txBody>
                  <a:tcPr marL="4763" marR="4763" marT="4763" marB="0" anchor="ctr"/>
                </a:tc>
                <a:tc>
                  <a:txBody>
                    <a:bodyPr/>
                    <a:lstStyle/>
                    <a:p>
                      <a:r>
                        <a:rPr lang="en-US" sz="800"/>
                        <a:t>Name of the Create Table script</a:t>
                      </a:r>
                    </a:p>
                  </a:txBody>
                  <a:tcPr marL="121920" marR="121920" marT="60960" marB="60960" anchor="ctr"/>
                </a:tc>
                <a:tc>
                  <a:txBody>
                    <a:bodyPr/>
                    <a:lstStyle/>
                    <a:p>
                      <a:r>
                        <a:rPr lang="en-US" sz="800"/>
                        <a:t>DimCustomer.dsql</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SchemaName</a:t>
                      </a:r>
                    </a:p>
                  </a:txBody>
                  <a:tcPr marL="4763" marR="4763" marT="4763" marB="0" anchor="ctr"/>
                </a:tc>
                <a:tc>
                  <a:txBody>
                    <a:bodyPr/>
                    <a:lstStyle/>
                    <a:p>
                      <a:r>
                        <a:rPr lang="en-US" sz="800"/>
                        <a:t>Name of the schema to create the external table in</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ObjectName</a:t>
                      </a:r>
                    </a:p>
                  </a:txBody>
                  <a:tcPr marL="4763" marR="4763" marT="4763" marB="0" anchor="ctr"/>
                </a:tc>
                <a:tc>
                  <a:txBody>
                    <a:bodyPr/>
                    <a:lstStyle/>
                    <a:p>
                      <a:r>
                        <a:rPr lang="en-US" sz="800"/>
                        <a:t>Name of the external table to create</a:t>
                      </a:r>
                    </a:p>
                  </a:txBody>
                  <a:tcPr marL="121920" marR="121920" marT="60960" marB="60960" anchor="ctr"/>
                </a:tc>
                <a:tc>
                  <a:txBody>
                    <a:bodyPr/>
                    <a:lstStyle/>
                    <a:p>
                      <a:r>
                        <a:rPr lang="en-US" sz="800"/>
                        <a:t>Ext_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eSource</a:t>
                      </a:r>
                    </a:p>
                  </a:txBody>
                  <a:tcPr marL="4763" marR="4763" marT="4763" marB="0" anchor="ctr"/>
                </a:tc>
                <a:tc>
                  <a:txBody>
                    <a:bodyPr/>
                    <a:lstStyle/>
                    <a:p>
                      <a:r>
                        <a:rPr lang="en-US" sz="800"/>
                        <a:t>Name of the data source to use for the external table</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FileLocation</a:t>
                      </a:r>
                    </a:p>
                  </a:txBody>
                  <a:tcPr marL="4763" marR="4763" marT="4763" marB="0" anchor="ctr"/>
                </a:tc>
                <a:tc>
                  <a:txBody>
                    <a:bodyPr/>
                    <a:lstStyle/>
                    <a:p>
                      <a:r>
                        <a:rPr lang="en-US" sz="800" dirty="0"/>
                        <a:t>Path to the export the data to on </a:t>
                      </a:r>
                      <a:r>
                        <a:rPr lang="en-US" sz="800" dirty="0" err="1"/>
                        <a:t>blobstorage</a:t>
                      </a:r>
                      <a:r>
                        <a:rPr lang="en-US" sz="800" dirty="0"/>
                        <a:t>.  Each Table should have its own file location</a:t>
                      </a:r>
                    </a:p>
                  </a:txBody>
                  <a:tcPr marL="121920" marR="121920" marT="60960" marB="60960" anchor="ctr"/>
                </a:tc>
                <a:tc>
                  <a:txBody>
                    <a:bodyPr/>
                    <a:lstStyle/>
                    <a:p>
                      <a:r>
                        <a:rPr lang="en-US" sz="800" dirty="0"/>
                        <a:t>/</a:t>
                      </a:r>
                      <a:r>
                        <a:rPr lang="en-US" sz="800" dirty="0" err="1"/>
                        <a:t>APS_Export</a:t>
                      </a:r>
                      <a:r>
                        <a:rPr lang="en-US" sz="800" dirty="0"/>
                        <a:t>/</a:t>
                      </a:r>
                      <a:r>
                        <a:rPr lang="en-US" sz="800" dirty="0" err="1"/>
                        <a:t>DimCustomer</a:t>
                      </a:r>
                      <a:r>
                        <a:rPr lang="en-US" sz="800" dirty="0"/>
                        <a:t>/</a:t>
                      </a:r>
                    </a:p>
                  </a:txBody>
                  <a:tcPr marL="121920" marR="121920" marT="60960" marB="60960" anchor="ctr"/>
                </a:tc>
                <a:extLst>
                  <a:ext uri="{0D108BD9-81ED-4DB2-BD59-A6C34878D82A}">
                    <a16:rowId xmlns:a16="http://schemas.microsoft.com/office/drawing/2014/main" val="508230191"/>
                  </a:ext>
                </a:extLst>
              </a:tr>
            </a:tbl>
          </a:graphicData>
        </a:graphic>
      </p:graphicFrame>
    </p:spTree>
    <p:extLst>
      <p:ext uri="{BB962C8B-B14F-4D97-AF65-F5344CB8AC3E}">
        <p14:creationId xmlns:p14="http://schemas.microsoft.com/office/powerpoint/2010/main" val="182608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1580" y="1948798"/>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639220" y="3039297"/>
            <a:ext cx="36214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config.csv 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a:off x="5784148" y="2123421"/>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Arrow: Right 51">
            <a:extLst>
              <a:ext uri="{FF2B5EF4-FFF2-40B4-BE49-F238E27FC236}">
                <a16:creationId xmlns:a16="http://schemas.microsoft.com/office/drawing/2014/main" id="{F051F300-EC17-4889-A0ED-300D475178C0}"/>
              </a:ext>
            </a:extLst>
          </p:cNvPr>
          <p:cNvSpPr/>
          <p:nvPr/>
        </p:nvSpPr>
        <p:spPr>
          <a:xfrm rot="20477393">
            <a:off x="2518520" y="2618809"/>
            <a:ext cx="1842434"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C48BC0F7-C23B-4969-84C7-FE44570E06AB}"/>
              </a:ext>
            </a:extLst>
          </p:cNvPr>
          <p:cNvPicPr>
            <a:picLocks noChangeAspect="1"/>
          </p:cNvPicPr>
          <p:nvPr/>
        </p:nvPicPr>
        <p:blipFill>
          <a:blip r:embed="rId5"/>
          <a:stretch>
            <a:fillRect/>
          </a:stretch>
        </p:blipFill>
        <p:spPr>
          <a:xfrm>
            <a:off x="1596656" y="2465049"/>
            <a:ext cx="831335" cy="977033"/>
          </a:xfrm>
          <a:prstGeom prst="rect">
            <a:avLst/>
          </a:prstGeom>
        </p:spPr>
      </p:pic>
      <p:sp>
        <p:nvSpPr>
          <p:cNvPr id="40" name="TextBox 39">
            <a:extLst>
              <a:ext uri="{FF2B5EF4-FFF2-40B4-BE49-F238E27FC236}">
                <a16:creationId xmlns:a16="http://schemas.microsoft.com/office/drawing/2014/main" id="{88D11C86-6D6F-4C93-9F6F-67835769E560}"/>
              </a:ext>
            </a:extLst>
          </p:cNvPr>
          <p:cNvSpPr txBox="1"/>
          <p:nvPr/>
        </p:nvSpPr>
        <p:spPr>
          <a:xfrm>
            <a:off x="1530575" y="2135850"/>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319448" y="2887882"/>
            <a:ext cx="2158850"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CreateExternalTable.sql</a:t>
            </a:r>
            <a:endParaRPr kumimoji="0" lang="en-US" sz="1200" b="1" i="0" u="none" strike="noStrike" kern="0" cap="none" spc="0" normalizeH="0" baseline="0" noProof="0">
              <a:ln>
                <a:noFill/>
              </a:ln>
              <a:solidFill>
                <a:srgbClr val="292929"/>
              </a:solidFill>
              <a:effectLst/>
              <a:uLnTx/>
              <a:uFillTx/>
            </a:endParaRPr>
          </a:p>
        </p:txBody>
      </p:sp>
      <p:pic>
        <p:nvPicPr>
          <p:cNvPr id="33" name="Picture 32">
            <a:extLst>
              <a:ext uri="{FF2B5EF4-FFF2-40B4-BE49-F238E27FC236}">
                <a16:creationId xmlns:a16="http://schemas.microsoft.com/office/drawing/2014/main" id="{E1F32268-FBDF-46D0-8B23-5019CD343B65}"/>
              </a:ext>
            </a:extLst>
          </p:cNvPr>
          <p:cNvPicPr>
            <a:picLocks noChangeAspect="1"/>
          </p:cNvPicPr>
          <p:nvPr/>
        </p:nvPicPr>
        <p:blipFill>
          <a:blip r:embed="rId6"/>
          <a:stretch>
            <a:fillRect/>
          </a:stretch>
        </p:blipFill>
        <p:spPr>
          <a:xfrm>
            <a:off x="1565986" y="1215727"/>
            <a:ext cx="810311" cy="952323"/>
          </a:xfrm>
          <a:prstGeom prst="rect">
            <a:avLst/>
          </a:prstGeom>
        </p:spPr>
      </p:pic>
      <p:sp>
        <p:nvSpPr>
          <p:cNvPr id="34" name="Arrow: Right 33">
            <a:extLst>
              <a:ext uri="{FF2B5EF4-FFF2-40B4-BE49-F238E27FC236}">
                <a16:creationId xmlns:a16="http://schemas.microsoft.com/office/drawing/2014/main" id="{4F64854C-D99A-4378-ABD7-5F84BC13E4BE}"/>
              </a:ext>
            </a:extLst>
          </p:cNvPr>
          <p:cNvSpPr/>
          <p:nvPr/>
        </p:nvSpPr>
        <p:spPr>
          <a:xfrm rot="546378">
            <a:off x="2478837" y="1785583"/>
            <a:ext cx="1841676" cy="420331"/>
          </a:xfrm>
          <a:prstGeom prst="rightArrow">
            <a:avLst>
              <a:gd name="adj1" fmla="val 53333"/>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771756A3-66A8-4D6B-90AE-0B9B492617B5}"/>
              </a:ext>
            </a:extLst>
          </p:cNvPr>
          <p:cNvSpPr txBox="1"/>
          <p:nvPr/>
        </p:nvSpPr>
        <p:spPr>
          <a:xfrm>
            <a:off x="1514291" y="3485807"/>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lang="en-US" sz="1200" b="1" kern="0" err="1">
                <a:solidFill>
                  <a:srgbClr val="292929"/>
                </a:solidFill>
              </a:rPr>
              <a:t>CreateTable</a:t>
            </a:r>
            <a:r>
              <a:rPr kumimoji="0" lang="en-US" sz="1200" b="1" i="0" u="none" strike="noStrike" kern="0" cap="none" spc="0" normalizeH="0" baseline="0" noProof="0">
                <a:ln>
                  <a:noFill/>
                </a:ln>
                <a:solidFill>
                  <a:srgbClr val="292929"/>
                </a:solidFill>
                <a:effectLst/>
                <a:uLnTx/>
                <a:uFillTx/>
              </a:rPr>
              <a:t>.</a:t>
            </a:r>
            <a:r>
              <a:rPr kumimoji="0" lang="en-US" sz="1200" b="1" i="0" u="none" strike="noStrike" kern="0" cap="none" spc="0" normalizeH="0" baseline="0" noProof="0" err="1">
                <a:ln>
                  <a:noFill/>
                </a:ln>
                <a:solidFill>
                  <a:srgbClr val="292929"/>
                </a:solidFill>
                <a:effectLst/>
                <a:uLnTx/>
                <a:uFillTx/>
              </a:rPr>
              <a:t>dsql</a:t>
            </a:r>
            <a:endParaRPr kumimoji="0" lang="en-US" sz="1200" b="1" i="0" u="none" strike="noStrike" kern="0" cap="none" spc="0" normalizeH="0" baseline="0" noProof="0">
              <a:ln>
                <a:noFill/>
              </a:ln>
              <a:solidFill>
                <a:srgbClr val="292929"/>
              </a:solidFill>
              <a:effectLst/>
              <a:uLnTx/>
              <a:uFillTx/>
            </a:endParaRPr>
          </a:p>
        </p:txBody>
      </p:sp>
      <p:pic>
        <p:nvPicPr>
          <p:cNvPr id="36" name="Picture 35">
            <a:extLst>
              <a:ext uri="{FF2B5EF4-FFF2-40B4-BE49-F238E27FC236}">
                <a16:creationId xmlns:a16="http://schemas.microsoft.com/office/drawing/2014/main" id="{B7EB8C74-5CD1-4373-B9EE-CA0866FC24E2}"/>
              </a:ext>
            </a:extLst>
          </p:cNvPr>
          <p:cNvPicPr>
            <a:picLocks noChangeAspect="1"/>
          </p:cNvPicPr>
          <p:nvPr/>
        </p:nvPicPr>
        <p:blipFill>
          <a:blip r:embed="rId5"/>
          <a:stretch>
            <a:fillRect/>
          </a:stretch>
        </p:blipFill>
        <p:spPr>
          <a:xfrm>
            <a:off x="7663656" y="1879831"/>
            <a:ext cx="831335" cy="977033"/>
          </a:xfrm>
          <a:prstGeom prst="rect">
            <a:avLst/>
          </a:prstGeom>
        </p:spPr>
      </p:pic>
      <p:pic>
        <p:nvPicPr>
          <p:cNvPr id="3" name="Picture 2">
            <a:extLst>
              <a:ext uri="{FF2B5EF4-FFF2-40B4-BE49-F238E27FC236}">
                <a16:creationId xmlns:a16="http://schemas.microsoft.com/office/drawing/2014/main" id="{2EE43DD7-33BC-487B-98BC-E693424A0221}"/>
              </a:ext>
            </a:extLst>
          </p:cNvPr>
          <p:cNvPicPr>
            <a:picLocks noChangeAspect="1"/>
          </p:cNvPicPr>
          <p:nvPr/>
        </p:nvPicPr>
        <p:blipFill>
          <a:blip r:embed="rId7"/>
          <a:stretch>
            <a:fillRect/>
          </a:stretch>
        </p:blipFill>
        <p:spPr>
          <a:xfrm>
            <a:off x="0" y="4304701"/>
            <a:ext cx="12074013" cy="2222415"/>
          </a:xfrm>
          <a:prstGeom prst="rect">
            <a:avLst/>
          </a:prstGeom>
        </p:spPr>
      </p:pic>
      <p:sp>
        <p:nvSpPr>
          <p:cNvPr id="41" name="Speech Bubble: Rectangle 40">
            <a:extLst>
              <a:ext uri="{FF2B5EF4-FFF2-40B4-BE49-F238E27FC236}">
                <a16:creationId xmlns:a16="http://schemas.microsoft.com/office/drawing/2014/main" id="{A7F8087F-9268-4535-86D1-EB20C04CA3A5}"/>
              </a:ext>
            </a:extLst>
          </p:cNvPr>
          <p:cNvSpPr/>
          <p:nvPr/>
        </p:nvSpPr>
        <p:spPr>
          <a:xfrm>
            <a:off x="9347055" y="2269050"/>
            <a:ext cx="2496577" cy="1237663"/>
          </a:xfrm>
          <a:prstGeom prst="wedgeRectCallout">
            <a:avLst>
              <a:gd name="adj1" fmla="val -14351"/>
              <a:gd name="adj2" fmla="val 111285"/>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a configurable variable that can be used in any script when using the deployment script in step 6</a:t>
            </a:r>
          </a:p>
          <a:p>
            <a:pPr lvl="0" defTabSz="1219120">
              <a:defRPr/>
            </a:pPr>
            <a:r>
              <a:rPr lang="en-US" sz="1200" kern="0">
                <a:solidFill>
                  <a:srgbClr val="292929"/>
                </a:solidFill>
              </a:rPr>
              <a:t>Example:  Location for an external table data</a:t>
            </a:r>
          </a:p>
        </p:txBody>
      </p:sp>
    </p:spTree>
    <p:extLst>
      <p:ext uri="{BB962C8B-B14F-4D97-AF65-F5344CB8AC3E}">
        <p14:creationId xmlns:p14="http://schemas.microsoft.com/office/powerpoint/2010/main" val="69914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Discovery workshop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 name="Rectangle 1">
            <a:extLst>
              <a:ext uri="{FF2B5EF4-FFF2-40B4-BE49-F238E27FC236}">
                <a16:creationId xmlns:a16="http://schemas.microsoft.com/office/drawing/2014/main" id="{305F49B5-6D14-486A-8B46-C2A682D6BF7C}"/>
              </a:ext>
            </a:extLst>
          </p:cNvPr>
          <p:cNvSpPr/>
          <p:nvPr/>
        </p:nvSpPr>
        <p:spPr>
          <a:xfrm>
            <a:off x="205464" y="1206694"/>
            <a:ext cx="11781070" cy="1938992"/>
          </a:xfrm>
          <a:prstGeom prst="rect">
            <a:avLst/>
          </a:prstGeom>
        </p:spPr>
        <p:txBody>
          <a:bodyPr wrap="square">
            <a:spAutoFit/>
          </a:bodyPr>
          <a:lstStyle/>
          <a:p>
            <a:r>
              <a:rPr lang="en-US" sz="2000" dirty="0">
                <a:cs typeface="Segoe UI"/>
              </a:rPr>
              <a:t>The discovery workshop duration depends on the complexity of the customers implementation.  </a:t>
            </a:r>
          </a:p>
          <a:p>
            <a:endParaRPr lang="en-US" sz="2000" dirty="0">
              <a:cs typeface="Segoe UI"/>
            </a:endParaRPr>
          </a:p>
          <a:p>
            <a:pPr marL="685165" indent="-685165">
              <a:buFont typeface="Arial" charset="0"/>
              <a:buAutoNum type="arabicPeriod"/>
            </a:pPr>
            <a:r>
              <a:rPr lang="en-US" sz="2000" dirty="0">
                <a:cs typeface="Segoe UI"/>
              </a:rPr>
              <a:t>Complete a migration assessment questionnaire. – </a:t>
            </a:r>
            <a:r>
              <a:rPr lang="en-US" sz="2000" b="1" dirty="0">
                <a:cs typeface="Segoe UI"/>
              </a:rPr>
              <a:t>Prior to workshop</a:t>
            </a:r>
          </a:p>
          <a:p>
            <a:pPr marL="685165" indent="-685165">
              <a:buFont typeface="Arial" charset="0"/>
              <a:buAutoNum type="arabicPeriod"/>
            </a:pPr>
            <a:r>
              <a:rPr lang="en-US" sz="2000" dirty="0">
                <a:cs typeface="Segoe UI"/>
              </a:rPr>
              <a:t>Perform a Pre-Assessment of the APS System.  (tools available from MS) - Prior to workshop</a:t>
            </a:r>
          </a:p>
          <a:p>
            <a:pPr marL="685165" indent="-685165">
              <a:buFont typeface="Arial" charset="0"/>
              <a:buAutoNum type="arabicPeriod"/>
            </a:pPr>
            <a:r>
              <a:rPr lang="en-US" sz="2000" dirty="0">
                <a:cs typeface="Segoe UI"/>
              </a:rPr>
              <a:t>Determine Database to Schema migration approach.</a:t>
            </a:r>
          </a:p>
          <a:p>
            <a:pPr marL="685165" indent="-685165">
              <a:buFont typeface="Arial" charset="0"/>
              <a:buAutoNum type="arabicPeriod"/>
            </a:pPr>
            <a:r>
              <a:rPr lang="en-US" sz="2000" dirty="0">
                <a:cs typeface="Segoe UI"/>
              </a:rPr>
              <a:t>Determine the scope of the migration.</a:t>
            </a:r>
          </a:p>
        </p:txBody>
      </p:sp>
    </p:spTree>
    <p:extLst>
      <p:ext uri="{BB962C8B-B14F-4D97-AF65-F5344CB8AC3E}">
        <p14:creationId xmlns:p14="http://schemas.microsoft.com/office/powerpoint/2010/main" val="149119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F76A0E89-AC4E-4481-BD3F-C8DA5CABE8A6}"/>
              </a:ext>
            </a:extLst>
          </p:cNvPr>
          <p:cNvSpPr txBox="1"/>
          <p:nvPr/>
        </p:nvSpPr>
        <p:spPr>
          <a:xfrm>
            <a:off x="6095999" y="1103748"/>
            <a:ext cx="5362482" cy="4650504"/>
          </a:xfrm>
          <a:prstGeom prst="rect">
            <a:avLst/>
          </a:prstGeom>
          <a:noFill/>
        </p:spPr>
        <p:txBody>
          <a:bodyPr wrap="square" lIns="182880" tIns="146304" rIns="182880" bIns="146304" rtlCol="0">
            <a:spAutoFit/>
          </a:bodyPr>
          <a:lstStyle/>
          <a:p>
            <a:pPr>
              <a:lnSpc>
                <a:spcPct val="90000"/>
              </a:lnSpc>
              <a:spcAft>
                <a:spcPts val="600"/>
              </a:spcAft>
            </a:pPr>
            <a:r>
              <a:rPr lang="en-US" sz="1100" b="1">
                <a:solidFill>
                  <a:srgbClr val="5191CD"/>
                </a:solidFill>
              </a:rPr>
              <a:t>Sample Generated File: </a:t>
            </a:r>
            <a:r>
              <a:rPr lang="en-US" sz="1100" b="1" err="1">
                <a:solidFill>
                  <a:srgbClr val="5191CD"/>
                </a:solidFill>
              </a:rPr>
              <a:t>ext_adw_dbo_DimAccount_DDL.dsql</a:t>
            </a:r>
            <a:r>
              <a:rPr lang="en-US" sz="1100" b="1">
                <a:solidFill>
                  <a:srgbClr val="5191CD"/>
                </a:solidFill>
              </a:rPr>
              <a:t> </a:t>
            </a:r>
          </a:p>
          <a:p>
            <a:pPr>
              <a:lnSpc>
                <a:spcPct val="90000"/>
              </a:lnSpc>
              <a:spcAft>
                <a:spcPts val="600"/>
              </a:spcAft>
            </a:pPr>
            <a:endParaRPr lang="en-US" sz="1100" b="1">
              <a:gradFill>
                <a:gsLst>
                  <a:gs pos="2917">
                    <a:schemeClr val="tx1"/>
                  </a:gs>
                  <a:gs pos="30000">
                    <a:schemeClr val="tx1"/>
                  </a:gs>
                </a:gsLst>
                <a:lin ang="5400000" scaled="0"/>
              </a:gradFill>
            </a:endParaRPr>
          </a:p>
          <a:p>
            <a:pPr>
              <a:lnSpc>
                <a:spcPct val="90000"/>
              </a:lnSpc>
              <a:spcAft>
                <a:spcPts val="600"/>
              </a:spcAft>
            </a:pPr>
            <a:r>
              <a:rPr lang="en-US" sz="1100" b="1">
                <a:gradFill>
                  <a:gsLst>
                    <a:gs pos="2917">
                      <a:schemeClr val="tx1"/>
                    </a:gs>
                    <a:gs pos="30000">
                      <a:schemeClr val="tx1"/>
                    </a:gs>
                  </a:gsLst>
                  <a:lin ang="5400000" scaled="0"/>
                </a:gradFill>
              </a:rPr>
              <a:t>CREATE EXTERNAL TABLE [</a:t>
            </a:r>
            <a:r>
              <a:rPr lang="en-US" sz="1100" b="1" err="1">
                <a:gradFill>
                  <a:gsLst>
                    <a:gs pos="2917">
                      <a:schemeClr val="tx1"/>
                    </a:gs>
                    <a:gs pos="30000">
                      <a:schemeClr val="tx1"/>
                    </a:gs>
                  </a:gsLst>
                  <a:lin ang="5400000" scaled="0"/>
                </a:gradFill>
              </a:rPr>
              <a:t>ext_adw_dbo</a:t>
            </a:r>
            <a:r>
              <a:rPr lang="en-US" sz="1100" b="1">
                <a:gradFill>
                  <a:gsLst>
                    <a:gs pos="2917">
                      <a:schemeClr val="tx1"/>
                    </a:gs>
                    <a:gs pos="30000">
                      <a:schemeClr val="tx1"/>
                    </a:gs>
                  </a:gsLst>
                  <a:lin ang="5400000" scaled="0"/>
                </a:gradFill>
              </a:rPr>
              <a:t>].[</a:t>
            </a:r>
            <a:r>
              <a:rPr lang="en-US" sz="1100" b="1" err="1">
                <a:gradFill>
                  <a:gsLst>
                    <a:gs pos="2917">
                      <a:schemeClr val="tx1"/>
                    </a:gs>
                    <a:gs pos="30000">
                      <a:schemeClr val="tx1"/>
                    </a:gs>
                  </a:gsLst>
                  <a:lin ang="5400000" scaled="0"/>
                </a:gradFill>
              </a:rPr>
              <a:t>ext_DimAccount</a:t>
            </a:r>
            <a:r>
              <a:rPr lang="en-US" sz="1100" b="1">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Key</a:t>
            </a:r>
            <a:r>
              <a:rPr lang="en-US" sz="1100">
                <a:gradFill>
                  <a:gsLst>
                    <a:gs pos="2917">
                      <a:schemeClr val="tx1"/>
                    </a:gs>
                    <a:gs pos="30000">
                      <a:schemeClr val="tx1"/>
                    </a:gs>
                  </a:gsLst>
                  <a:lin ang="5400000" scaled="0"/>
                </a:gradFill>
              </a:rPr>
              <a:t>]	int	NO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Description</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Operator]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300)		,[</a:t>
            </a:r>
            <a:r>
              <a:rPr lang="en-US" sz="1100" err="1">
                <a:gradFill>
                  <a:gsLst>
                    <a:gs pos="2917">
                      <a:schemeClr val="tx1"/>
                    </a:gs>
                    <a:gs pos="30000">
                      <a:schemeClr val="tx1"/>
                    </a:gs>
                  </a:gsLst>
                  <a:lin ang="5400000" scaled="0"/>
                </a:gradFill>
              </a:rPr>
              <a:t>Value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Option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200)	</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WITH (  </a:t>
            </a:r>
          </a:p>
          <a:p>
            <a:pPr>
              <a:lnSpc>
                <a:spcPct val="90000"/>
              </a:lnSpc>
              <a:spcAft>
                <a:spcPts val="600"/>
              </a:spcAft>
            </a:pPr>
            <a:r>
              <a:rPr lang="en-US" sz="1100">
                <a:solidFill>
                  <a:srgbClr val="0000FF"/>
                </a:solidFill>
              </a:rPr>
              <a:t>                LOCATION='/{@Var}/</a:t>
            </a:r>
            <a:r>
              <a:rPr lang="en-US" sz="1100" err="1">
                <a:solidFill>
                  <a:srgbClr val="0000FF"/>
                </a:solidFill>
              </a:rPr>
              <a:t>adw</a:t>
            </a:r>
            <a:r>
              <a:rPr lang="en-US" sz="1100">
                <a:solidFill>
                  <a:srgbClr val="0000FF"/>
                </a:solidFill>
              </a:rPr>
              <a:t>/</a:t>
            </a:r>
            <a:r>
              <a:rPr lang="en-US" sz="1100" err="1">
                <a:solidFill>
                  <a:srgbClr val="0000FF"/>
                </a:solidFill>
              </a:rPr>
              <a:t>dbo_DimAccount</a:t>
            </a:r>
            <a:r>
              <a:rPr lang="en-US" sz="1100">
                <a:solidFill>
                  <a:srgbClr val="0000FF"/>
                </a:solidFill>
              </a:rPr>
              <a:t>',  </a:t>
            </a:r>
          </a:p>
          <a:p>
            <a:pPr>
              <a:lnSpc>
                <a:spcPct val="90000"/>
              </a:lnSpc>
              <a:spcAft>
                <a:spcPts val="600"/>
              </a:spcAft>
            </a:pPr>
            <a:r>
              <a:rPr lang="en-US" sz="1100">
                <a:gradFill>
                  <a:gsLst>
                    <a:gs pos="2917">
                      <a:schemeClr val="tx1"/>
                    </a:gs>
                    <a:gs pos="30000">
                      <a:schemeClr val="tx1"/>
                    </a:gs>
                  </a:gsLst>
                  <a:lin ang="5400000" scaled="0"/>
                </a:gradFill>
              </a:rPr>
              <a:t>                DATA_SOURCE = </a:t>
            </a:r>
            <a:r>
              <a:rPr lang="en-US" sz="1100" err="1">
                <a:gradFill>
                  <a:gsLst>
                    <a:gs pos="2917">
                      <a:schemeClr val="tx1"/>
                    </a:gs>
                    <a:gs pos="30000">
                      <a:schemeClr val="tx1"/>
                    </a:gs>
                  </a:gsLst>
                  <a:lin ang="5400000" scaled="0"/>
                </a:gradFill>
              </a:rPr>
              <a:t>AzureBlobDS</a:t>
            </a:r>
            <a:r>
              <a:rPr lang="en-US" sz="1100">
                <a:gradFill>
                  <a:gsLst>
                    <a:gs pos="2917">
                      <a:schemeClr val="tx1"/>
                    </a:gs>
                    <a:gs pos="30000">
                      <a:schemeClr val="tx1"/>
                    </a:gs>
                  </a:gsLst>
                  <a:lin ang="5400000" scaled="0"/>
                </a:gradFill>
              </a:rPr>
              <a:t>,  </a:t>
            </a:r>
          </a:p>
          <a:p>
            <a:pPr>
              <a:lnSpc>
                <a:spcPct val="90000"/>
              </a:lnSpc>
              <a:spcAft>
                <a:spcPts val="600"/>
              </a:spcAft>
            </a:pPr>
            <a:r>
              <a:rPr lang="en-US" sz="1100">
                <a:gradFill>
                  <a:gsLst>
                    <a:gs pos="2917">
                      <a:schemeClr val="tx1"/>
                    </a:gs>
                    <a:gs pos="30000">
                      <a:schemeClr val="tx1"/>
                    </a:gs>
                  </a:gsLst>
                  <a:lin ang="5400000" scaled="0"/>
                </a:gradFill>
              </a:rPr>
              <a:t>                FILE_FORMAT = </a:t>
            </a:r>
            <a:r>
              <a:rPr lang="en-US" sz="1100" err="1">
                <a:gradFill>
                  <a:gsLst>
                    <a:gs pos="2917">
                      <a:schemeClr val="tx1"/>
                    </a:gs>
                    <a:gs pos="30000">
                      <a:schemeClr val="tx1"/>
                    </a:gs>
                  </a:gsLst>
                  <a:lin ang="5400000" scaled="0"/>
                </a:gradFill>
              </a:rPr>
              <a:t>DelimitedNoDateZIP</a:t>
            </a:r>
            <a:r>
              <a:rPr lang="en-US" sz="1100">
                <a:gradFill>
                  <a:gsLst>
                    <a:gs pos="2917">
                      <a:schemeClr val="tx1"/>
                    </a:gs>
                    <a:gs pos="30000">
                      <a:schemeClr val="tx1"/>
                    </a:gs>
                  </a:gsLst>
                  <a:lin ang="5400000" scaled="0"/>
                </a:gradFill>
              </a:rPr>
              <a:t>)</a:t>
            </a:r>
          </a:p>
          <a:p>
            <a:pPr>
              <a:lnSpc>
                <a:spcPct val="90000"/>
              </a:lnSpc>
              <a:spcAft>
                <a:spcPts val="600"/>
              </a:spcAft>
            </a:pPr>
            <a:endParaRPr lang="en-US" sz="1100">
              <a:gradFill>
                <a:gsLst>
                  <a:gs pos="2917">
                    <a:schemeClr val="tx1"/>
                  </a:gs>
                  <a:gs pos="30000">
                    <a:schemeClr val="tx1"/>
                  </a:gs>
                </a:gsLst>
                <a:lin ang="5400000" scaled="0"/>
              </a:gradFill>
            </a:endParaRPr>
          </a:p>
        </p:txBody>
      </p:sp>
      <p:sp>
        <p:nvSpPr>
          <p:cNvPr id="37" name="Rectangle 36">
            <a:extLst>
              <a:ext uri="{FF2B5EF4-FFF2-40B4-BE49-F238E27FC236}">
                <a16:creationId xmlns:a16="http://schemas.microsoft.com/office/drawing/2014/main" id="{CF028BAC-1502-49A4-85B4-B71964E2E73D}"/>
              </a:ext>
            </a:extLst>
          </p:cNvPr>
          <p:cNvSpPr/>
          <p:nvPr/>
        </p:nvSpPr>
        <p:spPr bwMode="auto">
          <a:xfrm>
            <a:off x="764669" y="1385229"/>
            <a:ext cx="4963302" cy="41306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0000"/>
                </a:solidFill>
                <a:latin typeface="Segoe UI"/>
              </a:rPr>
              <a:t>If the </a:t>
            </a:r>
            <a:r>
              <a:rPr lang="en-US" sz="1600" b="1" kern="0" err="1">
                <a:solidFill>
                  <a:srgbClr val="000000"/>
                </a:solidFill>
                <a:latin typeface="Segoe UI"/>
              </a:rPr>
              <a:t>FileLocation</a:t>
            </a:r>
            <a:r>
              <a:rPr lang="en-US" sz="1600" kern="0">
                <a:solidFill>
                  <a:srgbClr val="000000"/>
                </a:solidFill>
                <a:latin typeface="Segoe UI"/>
              </a:rPr>
              <a:t> has the “{@Var}”, the PowerShell scripts will generate create external table having a configurable location. See example T-SQL Statement generated on the right. </a:t>
            </a:r>
          </a:p>
          <a:p>
            <a:pPr>
              <a:defRPr/>
            </a:pPr>
            <a:endParaRPr lang="en-US" sz="1600" kern="0">
              <a:solidFill>
                <a:srgbClr val="000000"/>
              </a:solidFill>
              <a:latin typeface="Segoe UI"/>
            </a:endParaRPr>
          </a:p>
          <a:p>
            <a:pPr>
              <a:defRPr/>
            </a:pPr>
            <a:r>
              <a:rPr lang="en-US" sz="1600" kern="0">
                <a:solidFill>
                  <a:srgbClr val="000000"/>
                </a:solidFill>
                <a:latin typeface="Segoe UI"/>
              </a:rPr>
              <a:t>This configurable variable </a:t>
            </a:r>
            <a:r>
              <a:rPr lang="en-US" sz="1600" kern="0">
                <a:solidFill>
                  <a:srgbClr val="0000FF"/>
                </a:solidFill>
                <a:latin typeface="Segoe UI"/>
              </a:rPr>
              <a:t>{@Var} </a:t>
            </a:r>
            <a:r>
              <a:rPr lang="en-US" sz="1600" kern="0">
                <a:solidFill>
                  <a:srgbClr val="000000"/>
                </a:solidFill>
                <a:latin typeface="Segoe UI"/>
              </a:rPr>
              <a:t>can be replaced with a value such as </a:t>
            </a:r>
          </a:p>
          <a:p>
            <a:pPr>
              <a:defRPr/>
            </a:pPr>
            <a:endParaRPr lang="en-US" sz="1600" kern="0">
              <a:solidFill>
                <a:srgbClr val="000000"/>
              </a:solidFill>
              <a:latin typeface="Segoe UI"/>
            </a:endParaRPr>
          </a:p>
          <a:p>
            <a:pPr>
              <a:defRPr/>
            </a:pPr>
            <a:r>
              <a:rPr lang="en-US" sz="1600" kern="0">
                <a:solidFill>
                  <a:srgbClr val="0000FF"/>
                </a:solidFill>
                <a:latin typeface="Segoe UI"/>
              </a:rPr>
              <a:t>test</a:t>
            </a:r>
            <a:r>
              <a:rPr lang="en-US" sz="1600" kern="0">
                <a:solidFill>
                  <a:srgbClr val="000000"/>
                </a:solidFill>
                <a:latin typeface="Segoe UI"/>
              </a:rPr>
              <a:t> – to import data to a location to hold </a:t>
            </a:r>
            <a:r>
              <a:rPr lang="en-US" sz="1600" b="1" kern="0">
                <a:solidFill>
                  <a:srgbClr val="000000"/>
                </a:solidFill>
                <a:latin typeface="Segoe UI"/>
              </a:rPr>
              <a:t>test</a:t>
            </a:r>
            <a:r>
              <a:rPr lang="en-US" sz="1600" kern="0">
                <a:solidFill>
                  <a:srgbClr val="000000"/>
                </a:solidFill>
                <a:latin typeface="Segoe UI"/>
              </a:rPr>
              <a:t> data</a:t>
            </a:r>
          </a:p>
          <a:p>
            <a:pPr>
              <a:defRPr/>
            </a:pPr>
            <a:endParaRPr lang="en-US" sz="1600" kern="0">
              <a:solidFill>
                <a:srgbClr val="000000"/>
              </a:solidFill>
              <a:latin typeface="Segoe UI"/>
            </a:endParaRPr>
          </a:p>
          <a:p>
            <a:pPr>
              <a:defRPr/>
            </a:pPr>
            <a:r>
              <a:rPr lang="en-US" sz="1600" kern="0">
                <a:solidFill>
                  <a:srgbClr val="0000FF"/>
                </a:solidFill>
              </a:rPr>
              <a:t>dev</a:t>
            </a:r>
            <a:r>
              <a:rPr lang="en-US" sz="1600" kern="0">
                <a:solidFill>
                  <a:srgbClr val="000000"/>
                </a:solidFill>
              </a:rPr>
              <a:t> – to import data to a locate to hold </a:t>
            </a:r>
            <a:r>
              <a:rPr lang="en-US" sz="1600" b="1" kern="0">
                <a:solidFill>
                  <a:srgbClr val="000000"/>
                </a:solidFill>
              </a:rPr>
              <a:t>dev</a:t>
            </a:r>
            <a:r>
              <a:rPr lang="en-US" sz="1600" kern="0">
                <a:solidFill>
                  <a:srgbClr val="000000"/>
                </a:solidFill>
              </a:rPr>
              <a:t> data</a:t>
            </a:r>
          </a:p>
          <a:p>
            <a:pPr>
              <a:defRPr/>
            </a:pPr>
            <a:endParaRPr lang="en-US" sz="1600" kern="0">
              <a:solidFill>
                <a:srgbClr val="000000"/>
              </a:solidFill>
              <a:latin typeface="Segoe UI"/>
            </a:endParaRPr>
          </a:p>
          <a:p>
            <a:pPr>
              <a:defRPr/>
            </a:pPr>
            <a:r>
              <a:rPr lang="en-US" sz="1600" kern="0">
                <a:solidFill>
                  <a:srgbClr val="0000FF"/>
                </a:solidFill>
              </a:rPr>
              <a:t>prod</a:t>
            </a:r>
            <a:r>
              <a:rPr lang="en-US" sz="1600" kern="0">
                <a:solidFill>
                  <a:srgbClr val="000000"/>
                </a:solidFill>
              </a:rPr>
              <a:t> – to import data to a location to hold </a:t>
            </a:r>
            <a:r>
              <a:rPr lang="en-US" sz="1600" b="1" kern="0">
                <a:solidFill>
                  <a:srgbClr val="000000"/>
                </a:solidFill>
              </a:rPr>
              <a:t>prod</a:t>
            </a:r>
            <a:r>
              <a:rPr lang="en-US" sz="1600" kern="0">
                <a:solidFill>
                  <a:srgbClr val="000000"/>
                </a:solidFill>
              </a:rPr>
              <a:t> data. </a:t>
            </a:r>
            <a:endParaRPr lang="en-US" sz="1600" kern="0">
              <a:solidFill>
                <a:srgbClr val="000000"/>
              </a:solidFill>
              <a:latin typeface="Segoe UI"/>
            </a:endParaRPr>
          </a:p>
          <a:p>
            <a:pPr>
              <a:defRPr/>
            </a:pPr>
            <a:endParaRPr lang="en-US" sz="1600" kern="0">
              <a:solidFill>
                <a:srgbClr val="000000"/>
              </a:solidFill>
              <a:latin typeface="Segoe UI"/>
            </a:endParaRPr>
          </a:p>
          <a:p>
            <a:pPr>
              <a:defRPr/>
            </a:pPr>
            <a:r>
              <a:rPr lang="en-US" sz="1600" kern="0">
                <a:solidFill>
                  <a:srgbClr val="000000"/>
                </a:solidFill>
                <a:latin typeface="Segoe UI"/>
              </a:rPr>
              <a:t>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945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BEFE268A-5FEB-4720-B1CB-79879A6DF4C5}"/>
              </a:ext>
            </a:extLst>
          </p:cNvPr>
          <p:cNvSpPr/>
          <p:nvPr/>
        </p:nvSpPr>
        <p:spPr bwMode="auto">
          <a:xfrm>
            <a:off x="205464" y="964509"/>
            <a:ext cx="11072903" cy="534063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1219120">
              <a:spcBef>
                <a:spcPts val="800"/>
              </a:spcBef>
              <a:buSzPct val="80000"/>
              <a:defRPr/>
            </a:pPr>
            <a:r>
              <a:rPr lang="en-US" sz="2000">
                <a:gradFill>
                  <a:gsLst>
                    <a:gs pos="0">
                      <a:srgbClr val="292929"/>
                    </a:gs>
                    <a:gs pos="86000">
                      <a:srgbClr val="292929"/>
                    </a:gs>
                  </a:gsLst>
                  <a:lin ang="5400000" scaled="0"/>
                </a:gradFill>
              </a:rPr>
              <a:t>The Deployment script is designed to run any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  For the purpose of the migration, it can be used to deploy objects to SQLDW.  This tool can drop an existing object before running the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a:t>
            </a:r>
          </a:p>
          <a:p>
            <a:pPr marL="685783" lvl="0" indent="-685783" defTabSz="1219120">
              <a:spcBef>
                <a:spcPts val="800"/>
              </a:spcBef>
              <a:buSzPct val="80000"/>
              <a:buFont typeface="+mj-lt"/>
              <a:buAutoNum type="arabicPeriod"/>
              <a:defRPr/>
            </a:pPr>
            <a:r>
              <a:rPr lang="en-US" sz="2000">
                <a:gradFill>
                  <a:gsLst>
                    <a:gs pos="0">
                      <a:srgbClr val="292929"/>
                    </a:gs>
                    <a:gs pos="86000">
                      <a:srgbClr val="292929"/>
                    </a:gs>
                  </a:gsLst>
                  <a:lin ang="5400000" scaled="0"/>
                </a:gradFill>
              </a:rPr>
              <a:t>Copy the Scripts from Source Repository and Place them on in a local directory.</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Any directory structure will work.  As a suggestion this path can be used: </a:t>
            </a:r>
            <a:r>
              <a:rPr lang="en-US" sz="1400" b="1">
                <a:gradFill>
                  <a:gsLst>
                    <a:gs pos="0">
                      <a:srgbClr val="292929"/>
                    </a:gs>
                    <a:gs pos="86000">
                      <a:srgbClr val="292929"/>
                    </a:gs>
                  </a:gsLst>
                  <a:lin ang="5400000" scaled="0"/>
                </a:gradFill>
              </a:rPr>
              <a:t>C:\APS2SQLDW\6_DeployScriptsToSqldw.</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Place the two PowerShell scripts in the above directory (</a:t>
            </a:r>
            <a:r>
              <a:rPr lang="en-US" sz="1400">
                <a:solidFill>
                  <a:srgbClr val="5191CD"/>
                </a:solidFill>
              </a:rPr>
              <a:t>RunDSQLScriptDriver.ps1 </a:t>
            </a:r>
            <a:r>
              <a:rPr lang="en-US" sz="1400">
                <a:gradFill>
                  <a:gsLst>
                    <a:gs pos="0">
                      <a:srgbClr val="292929"/>
                    </a:gs>
                    <a:gs pos="86000">
                      <a:srgbClr val="292929"/>
                    </a:gs>
                  </a:gsLst>
                  <a:lin ang="5400000" scaled="0"/>
                </a:gradFill>
              </a:rPr>
              <a:t>and </a:t>
            </a:r>
            <a:r>
              <a:rPr lang="en-US" sz="1400">
                <a:solidFill>
                  <a:srgbClr val="5191CD"/>
                </a:solidFill>
              </a:rPr>
              <a:t>RunSQLScriptFile.ps1</a:t>
            </a:r>
            <a:r>
              <a:rPr lang="en-US" sz="1400">
                <a:gradFill>
                  <a:gsLst>
                    <a:gs pos="0">
                      <a:srgbClr val="292929"/>
                    </a:gs>
                    <a:gs pos="86000">
                      <a:srgbClr val="292929"/>
                    </a:gs>
                  </a:gsLst>
                  <a:lin ang="5400000" scaled="0"/>
                </a:gradFill>
              </a:rPr>
              <a:t>)</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You can choose to put all your CSV configuration files under the above directory, or in a separate directory under it, such as: </a:t>
            </a:r>
            <a:r>
              <a:rPr lang="en-US" sz="1400" b="1">
                <a:gradFill>
                  <a:gsLst>
                    <a:gs pos="0">
                      <a:srgbClr val="292929"/>
                    </a:gs>
                    <a:gs pos="86000">
                      <a:srgbClr val="292929"/>
                    </a:gs>
                  </a:gsLst>
                  <a:lin ang="5400000" scaled="0"/>
                </a:gradFill>
              </a:rPr>
              <a:t>C:\APS2SQLDW\6_DeployScriptsToSqldw\Config_Files</a:t>
            </a:r>
            <a:endParaRPr lang="en-US" sz="1600">
              <a:solidFill>
                <a:srgbClr val="FF0000"/>
              </a:solidFill>
            </a:endParaRPr>
          </a:p>
          <a:p>
            <a:pPr lvl="0">
              <a:defRPr/>
            </a:pPr>
            <a:endParaRPr lang="en-US" sz="1400">
              <a:solidFill>
                <a:schemeClr val="tx1"/>
              </a:solidFill>
            </a:endParaRPr>
          </a:p>
          <a:p>
            <a:pPr marL="342900" indent="-342900" defTabSz="1219120">
              <a:buAutoNum type="arabicPeriod" startAt="2"/>
              <a:defRPr/>
            </a:pPr>
            <a:r>
              <a:rPr lang="en-US" sz="2000">
                <a:gradFill>
                  <a:gsLst>
                    <a:gs pos="0">
                      <a:srgbClr val="292929"/>
                    </a:gs>
                    <a:gs pos="86000">
                      <a:srgbClr val="292929"/>
                    </a:gs>
                  </a:gsLst>
                  <a:lin ang="5400000" scaled="0"/>
                </a:gradFill>
              </a:rPr>
              <a:t>Select one of the sample configuration files for the purpose of your deployment. All the three sample configuration files use the same format. Sample configuration files provided:</a:t>
            </a:r>
          </a:p>
          <a:p>
            <a:pPr lvl="1" defTabSz="1219120">
              <a:defRPr/>
            </a:pPr>
            <a:endParaRPr lang="en-US" sz="1400">
              <a:solidFill>
                <a:srgbClr val="5191CD"/>
              </a:solidFill>
            </a:endParaRP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Export APS Data to Azure Blob Storage: </a:t>
            </a:r>
            <a:r>
              <a:rPr lang="en-US" sz="1400">
                <a:solidFill>
                  <a:srgbClr val="5191CD"/>
                </a:solidFill>
              </a:rPr>
              <a:t>ApsCreateExtTablesAndExportData.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Create Tables/Views/SPs in Azure SQLDW:  </a:t>
            </a:r>
            <a:r>
              <a:rPr lang="en-US" sz="1400">
                <a:solidFill>
                  <a:srgbClr val="5191CD"/>
                </a:solidFill>
              </a:rPr>
              <a:t>SqldwCreateTablesViewsAndSPs.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Import APS Data to Azure Blob Storage: </a:t>
            </a:r>
            <a:r>
              <a:rPr lang="en-US" sz="1400">
                <a:solidFill>
                  <a:srgbClr val="5191CD"/>
                </a:solidFill>
              </a:rPr>
              <a:t>SqldwImportData.csv </a:t>
            </a: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Tree>
    <p:extLst>
      <p:ext uri="{BB962C8B-B14F-4D97-AF65-F5344CB8AC3E}">
        <p14:creationId xmlns:p14="http://schemas.microsoft.com/office/powerpoint/2010/main" val="90680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pPr>
            <a:r>
              <a:rPr lang="en-US" sz="2400">
                <a:gradFill>
                  <a:gsLst>
                    <a:gs pos="0">
                      <a:srgbClr val="292929"/>
                    </a:gs>
                    <a:gs pos="86000">
                      <a:srgbClr val="292929"/>
                    </a:gs>
                  </a:gsLst>
                  <a:lin ang="5400000" scaled="0"/>
                </a:gradFill>
              </a:rPr>
              <a:t>3. Edit the one of the sample config files to fit the purpose of your deployment, referring to the definition of each column below: </a:t>
            </a:r>
            <a:endParaRPr lang="en-US" sz="1800">
              <a:gradFill>
                <a:gsLst>
                  <a:gs pos="0">
                    <a:srgbClr val="292929"/>
                  </a:gs>
                  <a:gs pos="86000">
                    <a:srgbClr val="292929"/>
                  </a:gs>
                </a:gsLst>
                <a:lin ang="5400000" scaled="0"/>
              </a:gradFill>
            </a:endParaRPr>
          </a:p>
          <a:p>
            <a:pPr lvl="2"/>
            <a:endParaRPr lang="en-US" sz="1667">
              <a:gradFill>
                <a:gsLst>
                  <a:gs pos="0">
                    <a:srgbClr val="292929"/>
                  </a:gs>
                  <a:gs pos="86000">
                    <a:srgbClr val="292929"/>
                  </a:gs>
                </a:gsLst>
                <a:lin ang="5400000" scaled="0"/>
              </a:gradFill>
              <a:latin typeface="Segoe UI"/>
            </a:endParaRP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eploymentScripts</a:t>
            </a:r>
            <a:r>
              <a:rPr lang="en-US" sz="1400">
                <a:gradFill>
                  <a:gsLst>
                    <a:gs pos="0">
                      <a:srgbClr val="292929"/>
                    </a:gs>
                    <a:gs pos="86000">
                      <a:srgbClr val="292929"/>
                    </a:gs>
                  </a:gsLst>
                  <a:lin ang="5400000" scaled="0"/>
                </a:gradFill>
                <a:latin typeface="Segoe UI"/>
              </a:rPr>
              <a:t>/ - </a:t>
            </a:r>
            <a:r>
              <a:rPr lang="en-US" sz="1400" err="1">
                <a:gradFill>
                  <a:gsLst>
                    <a:gs pos="0">
                      <a:srgbClr val="292929"/>
                    </a:gs>
                    <a:gs pos="86000">
                      <a:srgbClr val="292929"/>
                    </a:gs>
                  </a:gsLst>
                  <a:lin ang="5400000" scaled="0"/>
                </a:gradFill>
                <a:latin typeface="Segoe UI"/>
              </a:rPr>
              <a:t>Powershell</a:t>
            </a:r>
            <a:r>
              <a:rPr lang="en-US" sz="1400">
                <a:gradFill>
                  <a:gsLst>
                    <a:gs pos="0">
                      <a:srgbClr val="292929"/>
                    </a:gs>
                    <a:gs pos="86000">
                      <a:srgbClr val="292929"/>
                    </a:gs>
                  </a:gsLst>
                  <a:lin ang="5400000" scaled="0"/>
                </a:gradFill>
                <a:latin typeface="Segoe UI"/>
              </a:rPr>
              <a:t> Deployment Scripts – Needed for Step 3 Below</a:t>
            </a: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DL_DML_Scripts</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Schema_Tables</a:t>
            </a:r>
            <a:r>
              <a:rPr lang="en-US" sz="1400">
                <a:gradFill>
                  <a:gsLst>
                    <a:gs pos="0">
                      <a:srgbClr val="292929"/>
                    </a:gs>
                    <a:gs pos="86000">
                      <a:srgbClr val="292929"/>
                    </a:gs>
                  </a:gsLst>
                  <a:lin ang="5400000" scaled="0"/>
                </a:gradFill>
                <a:latin typeface="Segoe UI"/>
              </a:rPr>
              <a:t>/ - Schema and Table .</a:t>
            </a:r>
            <a:r>
              <a:rPr lang="en-US" sz="1400" err="1">
                <a:gradFill>
                  <a:gsLst>
                    <a:gs pos="0">
                      <a:srgbClr val="292929"/>
                    </a:gs>
                    <a:gs pos="86000">
                      <a:srgbClr val="292929"/>
                    </a:gs>
                  </a:gsLst>
                  <a:lin ang="5400000" scaled="0"/>
                </a:gradFill>
                <a:latin typeface="Segoe UI"/>
              </a:rPr>
              <a:t>dsql</a:t>
            </a:r>
            <a:r>
              <a:rPr lang="en-US" sz="1400">
                <a:gradFill>
                  <a:gsLst>
                    <a:gs pos="0">
                      <a:srgbClr val="292929"/>
                    </a:gs>
                    <a:gs pos="86000">
                      <a:srgbClr val="292929"/>
                    </a:gs>
                  </a:gsLst>
                  <a:lin ang="5400000" scaled="0"/>
                </a:gradFill>
                <a:latin typeface="Segoe UI"/>
              </a:rPr>
              <a:t> Files – Needed for step 3 Below</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533"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600160" marR="0" lvl="3" indent="-685783"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25" name="Table 24">
            <a:extLst>
              <a:ext uri="{FF2B5EF4-FFF2-40B4-BE49-F238E27FC236}">
                <a16:creationId xmlns:a16="http://schemas.microsoft.com/office/drawing/2014/main" id="{51C1E99E-53E9-4CE1-B781-7FB92570AAB3}"/>
              </a:ext>
            </a:extLst>
          </p:cNvPr>
          <p:cNvGraphicFramePr>
            <a:graphicFrameLocks noGrp="1"/>
          </p:cNvGraphicFramePr>
          <p:nvPr>
            <p:extLst>
              <p:ext uri="{D42A27DB-BD31-4B8C-83A1-F6EECF244321}">
                <p14:modId xmlns:p14="http://schemas.microsoft.com/office/powerpoint/2010/main" val="939443868"/>
              </p:ext>
            </p:extLst>
          </p:nvPr>
        </p:nvGraphicFramePr>
        <p:xfrm>
          <a:off x="350519" y="1902844"/>
          <a:ext cx="11490960" cy="4482738"/>
        </p:xfrm>
        <a:graphic>
          <a:graphicData uri="http://schemas.openxmlformats.org/drawingml/2006/table">
            <a:tbl>
              <a:tblPr firstRow="1" bandRow="1">
                <a:tableStyleId>{5C22544A-7EE6-4342-B048-85BDC9FD1C3A}</a:tableStyleId>
              </a:tblPr>
              <a:tblGrid>
                <a:gridCol w="1998543">
                  <a:extLst>
                    <a:ext uri="{9D8B030D-6E8A-4147-A177-3AD203B41FA5}">
                      <a16:colId xmlns:a16="http://schemas.microsoft.com/office/drawing/2014/main" val="1369067374"/>
                    </a:ext>
                  </a:extLst>
                </a:gridCol>
                <a:gridCol w="6855897">
                  <a:extLst>
                    <a:ext uri="{9D8B030D-6E8A-4147-A177-3AD203B41FA5}">
                      <a16:colId xmlns:a16="http://schemas.microsoft.com/office/drawing/2014/main" val="1527595796"/>
                    </a:ext>
                  </a:extLst>
                </a:gridCol>
                <a:gridCol w="2636520">
                  <a:extLst>
                    <a:ext uri="{9D8B030D-6E8A-4147-A177-3AD203B41FA5}">
                      <a16:colId xmlns:a16="http://schemas.microsoft.com/office/drawing/2014/main" val="742367323"/>
                    </a:ext>
                  </a:extLst>
                </a:gridCol>
              </a:tblGrid>
              <a:tr h="295931">
                <a:tc>
                  <a:txBody>
                    <a:bodyPr/>
                    <a:lstStyle/>
                    <a:p>
                      <a:pPr algn="ctr"/>
                      <a:r>
                        <a:rPr lang="en-US" sz="900">
                          <a:solidFill>
                            <a:schemeClr val="bg1"/>
                          </a:solidFill>
                        </a:rPr>
                        <a:t>Parameter</a:t>
                      </a:r>
                    </a:p>
                  </a:txBody>
                  <a:tcPr marL="121920" marR="121920" marT="60960" marB="60960" anchor="ctr"/>
                </a:tc>
                <a:tc>
                  <a:txBody>
                    <a:bodyPr/>
                    <a:lstStyle/>
                    <a:p>
                      <a:pPr algn="ctr"/>
                      <a:r>
                        <a:rPr lang="en-US" sz="900">
                          <a:solidFill>
                            <a:schemeClr val="bg1"/>
                          </a:solidFill>
                        </a:rPr>
                        <a:t>Purpose</a:t>
                      </a:r>
                    </a:p>
                  </a:txBody>
                  <a:tcPr marL="121920" marR="121920" marT="60960" marB="60960" anchor="ctr"/>
                </a:tc>
                <a:tc>
                  <a:txBody>
                    <a:bodyPr/>
                    <a:lstStyle/>
                    <a:p>
                      <a:pPr algn="ctr"/>
                      <a:r>
                        <a:rPr lang="en-US" sz="9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a:t>Name of the SQL Server/SQLDW/APS(PDW)</a:t>
                      </a:r>
                    </a:p>
                  </a:txBody>
                  <a:tcPr marL="121920" marR="121920" marT="60960" marB="60960" anchor="ctr"/>
                </a:tc>
                <a:tc>
                  <a:txBody>
                    <a:bodyPr/>
                    <a:lstStyle/>
                    <a:p>
                      <a:r>
                        <a:rPr lang="en-US" sz="9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900" err="1"/>
                        <a:t>FilePath</a:t>
                      </a:r>
                      <a:endParaRPr lang="en-US" sz="900"/>
                    </a:p>
                  </a:txBody>
                  <a:tcPr marL="121920" marR="121920" marT="60960" marB="60960" anchor="ctr"/>
                </a:tc>
                <a:tc>
                  <a:txBody>
                    <a:bodyPr/>
                    <a:lstStyle/>
                    <a:p>
                      <a:r>
                        <a:rPr lang="en-US" sz="900"/>
                        <a:t>Path to the Script that needs to be run.  Do not put a ‘\’ on the end.</a:t>
                      </a:r>
                    </a:p>
                  </a:txBody>
                  <a:tcPr marL="121920" marR="121920" marT="60960" marB="60960" anchor="ctr"/>
                </a:tc>
                <a:tc>
                  <a:txBody>
                    <a:bodyPr/>
                    <a:lstStyle/>
                    <a:p>
                      <a:r>
                        <a:rPr lang="en-US" sz="9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CreateSchema</a:t>
                      </a:r>
                      <a:endParaRPr lang="en-US" sz="900"/>
                    </a:p>
                  </a:txBody>
                  <a:tcPr marL="121920" marR="121920" marT="60960" marB="60960" anchor="ctr"/>
                </a:tc>
                <a:tc>
                  <a:txBody>
                    <a:bodyPr/>
                    <a:lstStyle/>
                    <a:p>
                      <a:r>
                        <a:rPr lang="en-US" sz="900"/>
                        <a:t>1 – Create Schema, 0 – Don’t create Schema</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570778470"/>
                  </a:ext>
                </a:extLst>
              </a:tr>
              <a:tr h="406400">
                <a:tc>
                  <a:txBody>
                    <a:bodyPr/>
                    <a:lstStyle/>
                    <a:p>
                      <a:r>
                        <a:rPr lang="en-US" sz="900" err="1"/>
                        <a:t>SchemaAuth</a:t>
                      </a:r>
                      <a:endParaRPr lang="en-US" sz="900"/>
                    </a:p>
                  </a:txBody>
                  <a:tcPr marL="121920" marR="121920" marT="60960" marB="60960" anchor="ctr"/>
                </a:tc>
                <a:tc>
                  <a:txBody>
                    <a:bodyPr/>
                    <a:lstStyle/>
                    <a:p>
                      <a:r>
                        <a:rPr lang="en-US" sz="9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900"/>
                        <a:t>Login to Create Schema</a:t>
                      </a:r>
                    </a:p>
                  </a:txBody>
                  <a:tcPr marL="121920" marR="121920" marT="60960" marB="60960" anchor="ctr"/>
                </a:tc>
                <a:extLst>
                  <a:ext uri="{0D108BD9-81ED-4DB2-BD59-A6C34878D82A}">
                    <a16:rowId xmlns:a16="http://schemas.microsoft.com/office/drawing/2014/main" val="988289561"/>
                  </a:ext>
                </a:extLst>
              </a:tr>
              <a:tr h="406400">
                <a:tc>
                  <a:txBody>
                    <a:bodyPr/>
                    <a:lstStyle/>
                    <a:p>
                      <a:r>
                        <a:rPr lang="en-US" sz="900" err="1"/>
                        <a:t>SchemaName</a:t>
                      </a:r>
                      <a:endParaRPr lang="en-US" sz="900"/>
                    </a:p>
                  </a:txBody>
                  <a:tcPr marL="121920" marR="121920" marT="60960" marB="60960" anchor="ctr"/>
                </a:tc>
                <a:tc>
                  <a:txBody>
                    <a:bodyPr/>
                    <a:lstStyle/>
                    <a:p>
                      <a:r>
                        <a:rPr lang="en-US" sz="900"/>
                        <a:t>Schema Name for the object to be created. When a schema is created, the .</a:t>
                      </a:r>
                      <a:r>
                        <a:rPr lang="en-US" sz="900" err="1"/>
                        <a:t>sqp</a:t>
                      </a:r>
                      <a:r>
                        <a:rPr lang="en-US" sz="900"/>
                        <a:t> file 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900" err="1"/>
                        <a:t>Schema_Name</a:t>
                      </a:r>
                      <a:endParaRPr lang="en-US" sz="900"/>
                    </a:p>
                  </a:txBody>
                  <a:tcPr marL="121920" marR="121920" marT="60960" marB="60960" anchor="ctr"/>
                </a:tc>
                <a:extLst>
                  <a:ext uri="{0D108BD9-81ED-4DB2-BD59-A6C34878D82A}">
                    <a16:rowId xmlns:a16="http://schemas.microsoft.com/office/drawing/2014/main" val="3037308962"/>
                  </a:ext>
                </a:extLst>
              </a:tr>
              <a:tr h="548640">
                <a:tc>
                  <a:txBody>
                    <a:bodyPr/>
                    <a:lstStyle/>
                    <a:p>
                      <a:r>
                        <a:rPr lang="en-US" sz="900" dirty="0" err="1"/>
                        <a:t>ObjectType</a:t>
                      </a:r>
                      <a:endParaRPr lang="en-US" sz="900" dirty="0"/>
                    </a:p>
                  </a:txBody>
                  <a:tcPr marL="121920" marR="121920" marT="60960" marB="60960" anchor="ctr"/>
                </a:tc>
                <a:tc>
                  <a:txBody>
                    <a:bodyPr/>
                    <a:lstStyle/>
                    <a:p>
                      <a:r>
                        <a:rPr lang="en-US" sz="900"/>
                        <a:t>Type of object to Create.  Used to create the drop statement.  Valid Values: “”, TABLE, VIEW, SP, (SCHEMA, STAT – Not implemented yet)</a:t>
                      </a:r>
                    </a:p>
                  </a:txBody>
                  <a:tcPr marL="121920" marR="121920" marT="60960" marB="60960" anchor="ctr"/>
                </a:tc>
                <a:tc>
                  <a:txBody>
                    <a:bodyPr/>
                    <a:lstStyle/>
                    <a:p>
                      <a:r>
                        <a:rPr lang="en-US" sz="900"/>
                        <a:t>TABLE, VIEW, SP, SCHEMA EXT </a:t>
                      </a:r>
                    </a:p>
                    <a:p>
                      <a:r>
                        <a:rPr lang="en-US" sz="9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900" err="1"/>
                        <a:t>ObjectName</a:t>
                      </a:r>
                      <a:endParaRPr lang="en-US" sz="900"/>
                    </a:p>
                  </a:txBody>
                  <a:tcPr marL="121920" marR="121920" marT="60960" marB="60960" anchor="ctr"/>
                </a:tc>
                <a:tc>
                  <a:txBody>
                    <a:bodyPr/>
                    <a:lstStyle/>
                    <a:p>
                      <a:r>
                        <a:rPr lang="en-US" sz="900"/>
                        <a:t>Name of the object that is being created.  Used in creating the drop statement and logging.</a:t>
                      </a:r>
                    </a:p>
                  </a:txBody>
                  <a:tcPr marL="121920" marR="121920" marT="60960" marB="60960" anchor="ctr"/>
                </a:tc>
                <a:tc>
                  <a:txBody>
                    <a:bodyPr/>
                    <a:lstStyle/>
                    <a:p>
                      <a:r>
                        <a:rPr lang="en-US" sz="900"/>
                        <a:t>Name of the object</a:t>
                      </a:r>
                    </a:p>
                  </a:txBody>
                  <a:tcPr marL="121920" marR="121920" marT="60960" marB="60960" anchor="ctr"/>
                </a:tc>
                <a:extLst>
                  <a:ext uri="{0D108BD9-81ED-4DB2-BD59-A6C34878D82A}">
                    <a16:rowId xmlns:a16="http://schemas.microsoft.com/office/drawing/2014/main" val="234739346"/>
                  </a:ext>
                </a:extLst>
              </a:tr>
              <a:tr h="6908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357505">
                <a:tc>
                  <a:txBody>
                    <a:bodyPr/>
                    <a:lstStyle/>
                    <a:p>
                      <a:r>
                        <a:rPr lang="en-US" sz="90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bl>
          </a:graphicData>
        </a:graphic>
      </p:graphicFrame>
    </p:spTree>
    <p:extLst>
      <p:ext uri="{BB962C8B-B14F-4D97-AF65-F5344CB8AC3E}">
        <p14:creationId xmlns:p14="http://schemas.microsoft.com/office/powerpoint/2010/main" val="399514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US" sz="2400"/>
              <a:t>4. Run the PowerShell script(RunDSQLScriptsDriver.ps1).  This script will prompt for the following information</a:t>
            </a:r>
          </a:p>
          <a:p>
            <a:pPr lvl="3"/>
            <a:r>
              <a:rPr lang="en-US" sz="1333"/>
              <a:t>“Enter the name of the Script Config csv File.” – This will be the location\name of your configuration file.</a:t>
            </a:r>
          </a:p>
          <a:p>
            <a:pPr lvl="4"/>
            <a:r>
              <a:rPr lang="en-US" sz="1100">
                <a:gradFill>
                  <a:gsLst>
                    <a:gs pos="0">
                      <a:srgbClr val="292929"/>
                    </a:gs>
                    <a:gs pos="86000">
                      <a:srgbClr val="292929"/>
                    </a:gs>
                  </a:gsLst>
                  <a:lin ang="5400000" scaled="0"/>
                </a:gradFill>
              </a:rPr>
              <a:t>C:\APS2SQLDW\6_DeployScriptsToSqldw\Config_Files: </a:t>
            </a:r>
            <a:r>
              <a:rPr lang="en-US" sz="1100">
                <a:solidFill>
                  <a:srgbClr val="5191CD"/>
                </a:solidFill>
              </a:rPr>
              <a:t>SqldwCreateTablesViewsAndSPs.csv or ApsCreateExtTablesAndExportData.csv or SqldwImportData.csv </a:t>
            </a:r>
            <a:endParaRPr lang="en-US" sz="1067"/>
          </a:p>
          <a:p>
            <a:pPr lvl="3"/>
            <a:r>
              <a:rPr lang="en-US" sz="1333"/>
              <a:t>“How do you want to connect to SQL(</a:t>
            </a:r>
            <a:r>
              <a:rPr lang="en-US" sz="1333" err="1"/>
              <a:t>ADPass</a:t>
            </a:r>
            <a:r>
              <a:rPr lang="en-US" sz="1333"/>
              <a:t>, </a:t>
            </a:r>
            <a:r>
              <a:rPr lang="en-US" sz="1333" err="1"/>
              <a:t>ADInt</a:t>
            </a:r>
            <a:r>
              <a:rPr lang="en-US" sz="1333"/>
              <a:t>, </a:t>
            </a:r>
            <a:r>
              <a:rPr lang="en-US" sz="1333" err="1"/>
              <a:t>WinInt</a:t>
            </a:r>
            <a:r>
              <a:rPr lang="en-US" sz="1333"/>
              <a:t>, </a:t>
            </a:r>
            <a:r>
              <a:rPr lang="en-US" sz="1333" err="1"/>
              <a:t>SQLAuth</a:t>
            </a:r>
            <a:r>
              <a:rPr lang="en-US" sz="1333"/>
              <a:t>)?”</a:t>
            </a:r>
          </a:p>
          <a:p>
            <a:pPr lvl="4"/>
            <a:r>
              <a:rPr lang="en-US" sz="1067" err="1"/>
              <a:t>ADPass</a:t>
            </a:r>
            <a:r>
              <a:rPr lang="en-US" sz="1067"/>
              <a:t> – This should be used for SQL Authentication with Password (Azure)</a:t>
            </a:r>
          </a:p>
          <a:p>
            <a:pPr lvl="4"/>
            <a:r>
              <a:rPr lang="en-US" sz="1067"/>
              <a:t>ADINT – Azure AD Authentication</a:t>
            </a:r>
          </a:p>
          <a:p>
            <a:pPr lvl="4"/>
            <a:r>
              <a:rPr lang="en-US" sz="1067"/>
              <a:t>SQLAUTH – SQL Server Authentication with username and password.</a:t>
            </a:r>
          </a:p>
          <a:p>
            <a:pPr lvl="4"/>
            <a:r>
              <a:rPr lang="en-US" sz="1067"/>
              <a:t>“Blank” – AD integrated Authentication</a:t>
            </a:r>
          </a:p>
          <a:p>
            <a:pPr lvl="3"/>
            <a:r>
              <a:rPr lang="en-US" sz="1333"/>
              <a:t>“Enter the User Name to Connect to the SQL Server.” – User name with permission to create objects</a:t>
            </a:r>
          </a:p>
          <a:p>
            <a:pPr lvl="3"/>
            <a:r>
              <a:rPr lang="en-US" sz="1333"/>
              <a:t>“Enter the Password for the User” – Enter the Password for the user – reads password as a secure string</a:t>
            </a:r>
          </a:p>
          <a:p>
            <a:pPr lvl="3"/>
            <a:r>
              <a:rPr lang="en-US" sz="1333"/>
              <a:t>“Enter the name of the Output File Directory.” – Enter the location where the output log will be written</a:t>
            </a:r>
          </a:p>
          <a:p>
            <a:pPr lvl="3"/>
            <a:r>
              <a:rPr lang="en-US" sz="1333"/>
              <a:t>“Enter the name of the status file.” – Enter the name of the Status File</a:t>
            </a:r>
          </a:p>
          <a:p>
            <a:pPr marL="0" indent="0">
              <a:buNone/>
            </a:pPr>
            <a:r>
              <a:rPr lang="en-US" sz="2533"/>
              <a:t>5. Review the Status log for Success Failures. </a:t>
            </a:r>
            <a:endParaRPr lang="en-US" sz="2533">
              <a:solidFill>
                <a:srgbClr val="FF0000"/>
              </a:solidFill>
            </a:endParaRPr>
          </a:p>
          <a:p>
            <a:pPr marL="304792" lvl="1" indent="0">
              <a:buNone/>
            </a:pPr>
            <a:r>
              <a:rPr lang="en-US" sz="1467"/>
              <a:t>Review the status log file. The file name and location are the prompted values of the PowerShell program in step 3). The default location is the location of the PowerShell scripts with the file name </a:t>
            </a:r>
            <a:r>
              <a:rPr lang="en-US" sz="1467">
                <a:solidFill>
                  <a:srgbClr val="5191CD"/>
                </a:solidFill>
              </a:rPr>
              <a:t>status.csv</a:t>
            </a:r>
            <a:r>
              <a:rPr lang="en-US" sz="1467"/>
              <a:t>. </a:t>
            </a:r>
          </a:p>
          <a:p>
            <a:pPr marL="895334" lvl="2" indent="-285750"/>
            <a:r>
              <a:rPr lang="en-US" sz="1200"/>
              <a:t>Should a failure occur, the Status log will set the Active flag to 0 for all successful objects created  The Failures will remain Active = 1.  This will allow the status log to be used as the Script Config file and only the failed objects will be run</a:t>
            </a:r>
          </a:p>
        </p:txBody>
      </p:sp>
    </p:spTree>
    <p:extLst>
      <p:ext uri="{BB962C8B-B14F-4D97-AF65-F5344CB8AC3E}">
        <p14:creationId xmlns:p14="http://schemas.microsoft.com/office/powerpoint/2010/main" val="101176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26" name="Table 25">
            <a:extLst>
              <a:ext uri="{FF2B5EF4-FFF2-40B4-BE49-F238E27FC236}">
                <a16:creationId xmlns:a16="http://schemas.microsoft.com/office/drawing/2014/main" id="{359F5CE0-1DB8-4A99-A181-6DAD97338C6C}"/>
              </a:ext>
            </a:extLst>
          </p:cNvPr>
          <p:cNvGraphicFramePr>
            <a:graphicFrameLocks noGrp="1"/>
          </p:cNvGraphicFramePr>
          <p:nvPr>
            <p:extLst>
              <p:ext uri="{D42A27DB-BD31-4B8C-83A1-F6EECF244321}">
                <p14:modId xmlns:p14="http://schemas.microsoft.com/office/powerpoint/2010/main" val="1013432742"/>
              </p:ext>
            </p:extLst>
          </p:nvPr>
        </p:nvGraphicFramePr>
        <p:xfrm>
          <a:off x="205463" y="1446245"/>
          <a:ext cx="11781070" cy="5271541"/>
        </p:xfrm>
        <a:graphic>
          <a:graphicData uri="http://schemas.openxmlformats.org/drawingml/2006/table">
            <a:tbl>
              <a:tblPr firstRow="1" bandRow="1">
                <a:tableStyleId>{5C22544A-7EE6-4342-B048-85BDC9FD1C3A}</a:tableStyleId>
              </a:tblPr>
              <a:tblGrid>
                <a:gridCol w="1197898">
                  <a:extLst>
                    <a:ext uri="{9D8B030D-6E8A-4147-A177-3AD203B41FA5}">
                      <a16:colId xmlns:a16="http://schemas.microsoft.com/office/drawing/2014/main" val="1369067374"/>
                    </a:ext>
                  </a:extLst>
                </a:gridCol>
                <a:gridCol w="8588411">
                  <a:extLst>
                    <a:ext uri="{9D8B030D-6E8A-4147-A177-3AD203B41FA5}">
                      <a16:colId xmlns:a16="http://schemas.microsoft.com/office/drawing/2014/main" val="1527595796"/>
                    </a:ext>
                  </a:extLst>
                </a:gridCol>
                <a:gridCol w="1994761">
                  <a:extLst>
                    <a:ext uri="{9D8B030D-6E8A-4147-A177-3AD203B41FA5}">
                      <a16:colId xmlns:a16="http://schemas.microsoft.com/office/drawing/2014/main" val="742367323"/>
                    </a:ext>
                  </a:extLst>
                </a:gridCol>
              </a:tblGrid>
              <a:tr h="345233">
                <a:tc>
                  <a:txBody>
                    <a:bodyPr/>
                    <a:lstStyle/>
                    <a:p>
                      <a:pPr algn="ctr"/>
                      <a:r>
                        <a:rPr lang="en-US" sz="800">
                          <a:solidFill>
                            <a:schemeClr val="bg1"/>
                          </a:solidFill>
                        </a:rPr>
                        <a:t>Parameter</a:t>
                      </a:r>
                    </a:p>
                  </a:txBody>
                  <a:tcPr marL="121920" marR="121920" marT="60960" marB="60960" anchor="ctr"/>
                </a:tc>
                <a:tc>
                  <a:txBody>
                    <a:bodyPr/>
                    <a:lstStyle/>
                    <a:p>
                      <a:pPr algn="ctr"/>
                      <a:r>
                        <a:rPr lang="en-US" sz="800">
                          <a:solidFill>
                            <a:schemeClr val="bg1"/>
                          </a:solidFill>
                        </a:rPr>
                        <a:t>Purpose</a:t>
                      </a:r>
                    </a:p>
                  </a:txBody>
                  <a:tcPr marL="121920" marR="121920" marT="60960" marB="60960" anchor="ctr"/>
                </a:tc>
                <a:tc>
                  <a:txBody>
                    <a:bodyPr/>
                    <a:lstStyle/>
                    <a:p>
                      <a:pPr algn="ctr"/>
                      <a:r>
                        <a:rPr lang="en-US" sz="8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487680">
                <a:tc>
                  <a:txBody>
                    <a:bodyPr/>
                    <a:lstStyle/>
                    <a:p>
                      <a:r>
                        <a:rPr lang="en-US" sz="800"/>
                        <a:t>Active</a:t>
                      </a:r>
                    </a:p>
                  </a:txBody>
                  <a:tcPr marL="121920" marR="121920" marT="60960" marB="60960" anchor="ctr"/>
                </a:tc>
                <a:tc>
                  <a:txBody>
                    <a:bodyPr/>
                    <a:lstStyle/>
                    <a:p>
                      <a:r>
                        <a:rPr lang="en-US" sz="800"/>
                        <a:t>1 – Run line, 0 – Skip line</a:t>
                      </a:r>
                    </a:p>
                    <a:p>
                      <a:r>
                        <a:rPr lang="en-US" sz="800"/>
                        <a:t>Sets the 1 to 0 if the .</a:t>
                      </a:r>
                      <a:r>
                        <a:rPr lang="en-US" sz="800" err="1"/>
                        <a:t>sql</a:t>
                      </a:r>
                      <a:r>
                        <a:rPr lang="en-US" sz="800"/>
                        <a:t> ran successfully.</a:t>
                      </a:r>
                    </a:p>
                    <a:p>
                      <a:r>
                        <a:rPr lang="en-US" sz="800"/>
                        <a:t>IF set to 0, output = 0</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800" err="1"/>
                        <a:t>ServerName</a:t>
                      </a:r>
                      <a:endParaRPr lang="en-US" sz="800"/>
                    </a:p>
                  </a:txBody>
                  <a:tcPr marL="121920" marR="121920" marT="60960" marB="60960" anchor="ctr"/>
                </a:tc>
                <a:tc>
                  <a:txBody>
                    <a:bodyPr/>
                    <a:lstStyle/>
                    <a:p>
                      <a:r>
                        <a:rPr lang="en-US" sz="800"/>
                        <a:t>Name of the SQL Server/SQLDW/APS(PDW)</a:t>
                      </a:r>
                    </a:p>
                  </a:txBody>
                  <a:tcPr marL="121920" marR="121920" marT="60960" marB="60960" anchor="ctr"/>
                </a:tc>
                <a:tc>
                  <a:txBody>
                    <a:bodyPr/>
                    <a:lstStyle/>
                    <a:p>
                      <a:r>
                        <a:rPr lang="en-US" sz="8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800" err="1"/>
                        <a:t>DatabaseName</a:t>
                      </a:r>
                      <a:endParaRPr lang="en-US" sz="800"/>
                    </a:p>
                  </a:txBody>
                  <a:tcPr marL="121920" marR="121920" marT="60960" marB="60960" anchor="ctr"/>
                </a:tc>
                <a:tc>
                  <a:txBody>
                    <a:bodyPr/>
                    <a:lstStyle/>
                    <a:p>
                      <a:r>
                        <a:rPr lang="en-US" sz="800"/>
                        <a:t>Name of the DB to connect to</a:t>
                      </a:r>
                    </a:p>
                  </a:txBody>
                  <a:tcPr marL="121920" marR="121920" marT="60960" marB="60960" anchor="ctr"/>
                </a:tc>
                <a:tc>
                  <a:txBody>
                    <a:bodyPr/>
                    <a:lstStyle/>
                    <a:p>
                      <a:r>
                        <a:rPr lang="en-US" sz="800" err="1"/>
                        <a:t>DBName</a:t>
                      </a:r>
                      <a:endParaRPr lang="en-US" sz="8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800" err="1"/>
                        <a:t>FilePath</a:t>
                      </a:r>
                      <a:endParaRPr lang="en-US" sz="800"/>
                    </a:p>
                  </a:txBody>
                  <a:tcPr marL="121920" marR="121920" marT="60960" marB="60960" anchor="ctr"/>
                </a:tc>
                <a:tc>
                  <a:txBody>
                    <a:bodyPr/>
                    <a:lstStyle/>
                    <a:p>
                      <a:r>
                        <a:rPr lang="en-US" sz="800"/>
                        <a:t>Path to the Script that needs to be run.  Do not put a ‘\’ on the end.</a:t>
                      </a:r>
                    </a:p>
                  </a:txBody>
                  <a:tcPr marL="121920" marR="121920" marT="60960" marB="60960" anchor="ctr"/>
                </a:tc>
                <a:tc>
                  <a:txBody>
                    <a:bodyPr/>
                    <a:lstStyle/>
                    <a:p>
                      <a:r>
                        <a:rPr lang="en-US" sz="8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800" err="1"/>
                        <a:t>CreateSchema</a:t>
                      </a:r>
                      <a:endParaRPr lang="en-US" sz="800"/>
                    </a:p>
                  </a:txBody>
                  <a:tcPr marL="121920" marR="121920" marT="60960" marB="60960" anchor="ctr"/>
                </a:tc>
                <a:tc>
                  <a:txBody>
                    <a:bodyPr/>
                    <a:lstStyle/>
                    <a:p>
                      <a:r>
                        <a:rPr lang="en-US" sz="800"/>
                        <a:t>1 – Create Schema, 0 – Don’t create Schema</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570778470"/>
                  </a:ext>
                </a:extLst>
              </a:tr>
              <a:tr h="288269">
                <a:tc>
                  <a:txBody>
                    <a:bodyPr/>
                    <a:lstStyle/>
                    <a:p>
                      <a:r>
                        <a:rPr lang="en-US" sz="800" err="1"/>
                        <a:t>SchemaAuth</a:t>
                      </a:r>
                      <a:endParaRPr lang="en-US" sz="800"/>
                    </a:p>
                  </a:txBody>
                  <a:tcPr marL="121920" marR="121920" marT="60960" marB="60960" anchor="ctr"/>
                </a:tc>
                <a:tc>
                  <a:txBody>
                    <a:bodyPr/>
                    <a:lstStyle/>
                    <a:p>
                      <a:r>
                        <a:rPr lang="en-US" sz="8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800"/>
                        <a:t>Login to Create Schema</a:t>
                      </a:r>
                    </a:p>
                  </a:txBody>
                  <a:tcPr marL="121920" marR="121920" marT="60960" marB="60960" anchor="ctr"/>
                </a:tc>
                <a:extLst>
                  <a:ext uri="{0D108BD9-81ED-4DB2-BD59-A6C34878D82A}">
                    <a16:rowId xmlns:a16="http://schemas.microsoft.com/office/drawing/2014/main" val="988289561"/>
                  </a:ext>
                </a:extLst>
              </a:tr>
              <a:tr h="365760">
                <a:tc>
                  <a:txBody>
                    <a:bodyPr/>
                    <a:lstStyle/>
                    <a:p>
                      <a:r>
                        <a:rPr lang="en-US" sz="800" err="1"/>
                        <a:t>SchemaName</a:t>
                      </a:r>
                      <a:endParaRPr lang="en-US" sz="800"/>
                    </a:p>
                  </a:txBody>
                  <a:tcPr marL="121920" marR="121920" marT="60960" marB="60960" anchor="ctr"/>
                </a:tc>
                <a:tc>
                  <a:txBody>
                    <a:bodyPr/>
                    <a:lstStyle/>
                    <a:p>
                      <a:r>
                        <a:rPr lang="en-US" sz="800"/>
                        <a:t>Schema Name for the object to be created. When a schema is created, the .</a:t>
                      </a:r>
                      <a:r>
                        <a:rPr lang="en-US" sz="800" err="1"/>
                        <a:t>sql</a:t>
                      </a:r>
                      <a:r>
                        <a:rPr lang="en-US" sz="800"/>
                        <a:t> file</a:t>
                      </a:r>
                      <a:r>
                        <a:rPr lang="en-US" sz="800">
                          <a:solidFill>
                            <a:srgbClr val="FF0000"/>
                          </a:solidFill>
                        </a:rPr>
                        <a:t> </a:t>
                      </a:r>
                      <a:r>
                        <a:rPr lang="en-US" sz="800"/>
                        <a:t>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800" err="1"/>
                        <a:t>Schema_Name</a:t>
                      </a:r>
                      <a:endParaRPr lang="en-US" sz="800"/>
                    </a:p>
                  </a:txBody>
                  <a:tcPr marL="121920" marR="121920" marT="60960" marB="60960" anchor="ctr"/>
                </a:tc>
                <a:extLst>
                  <a:ext uri="{0D108BD9-81ED-4DB2-BD59-A6C34878D82A}">
                    <a16:rowId xmlns:a16="http://schemas.microsoft.com/office/drawing/2014/main" val="3037308962"/>
                  </a:ext>
                </a:extLst>
              </a:tr>
              <a:tr h="487680">
                <a:tc>
                  <a:txBody>
                    <a:bodyPr/>
                    <a:lstStyle/>
                    <a:p>
                      <a:r>
                        <a:rPr lang="en-US" sz="800" err="1"/>
                        <a:t>ObjectType</a:t>
                      </a:r>
                      <a:endParaRPr lang="en-US" sz="800"/>
                    </a:p>
                  </a:txBody>
                  <a:tcPr marL="121920" marR="121920" marT="60960" marB="60960" anchor="ctr"/>
                </a:tc>
                <a:tc>
                  <a:txBody>
                    <a:bodyPr/>
                    <a:lstStyle/>
                    <a:p>
                      <a:r>
                        <a:rPr lang="en-US" sz="800"/>
                        <a:t>Type of object to Create.  Used to create the drop statement.  Valid Values: “”, TABLE, VIEW, SP, (SCHEMA, STAT – Not implemented yet), EXT (External Table) </a:t>
                      </a:r>
                    </a:p>
                  </a:txBody>
                  <a:tcPr marL="121920" marR="121920" marT="60960" marB="60960" anchor="ctr"/>
                </a:tc>
                <a:tc>
                  <a:txBody>
                    <a:bodyPr/>
                    <a:lstStyle/>
                    <a:p>
                      <a:r>
                        <a:rPr lang="en-US" sz="800"/>
                        <a:t>TABLE, VIEW, SP, EXT, SCHEMA</a:t>
                      </a:r>
                    </a:p>
                    <a:p>
                      <a:r>
                        <a:rPr lang="en-US" sz="8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800" err="1"/>
                        <a:t>ObjectName</a:t>
                      </a:r>
                      <a:endParaRPr lang="en-US" sz="800"/>
                    </a:p>
                  </a:txBody>
                  <a:tcPr marL="121920" marR="121920" marT="60960" marB="60960" anchor="ctr"/>
                </a:tc>
                <a:tc>
                  <a:txBody>
                    <a:bodyPr/>
                    <a:lstStyle/>
                    <a:p>
                      <a:r>
                        <a:rPr lang="en-US" sz="800"/>
                        <a:t>Name of the object that is being created.  Used in creating the drop statement and logging.</a:t>
                      </a:r>
                    </a:p>
                  </a:txBody>
                  <a:tcPr marL="121920" marR="121920" marT="60960" marB="60960" anchor="ctr"/>
                </a:tc>
                <a:tc>
                  <a:txBody>
                    <a:bodyPr/>
                    <a:lstStyle/>
                    <a:p>
                      <a:r>
                        <a:rPr lang="en-US" sz="800"/>
                        <a:t>Name of the object</a:t>
                      </a:r>
                    </a:p>
                  </a:txBody>
                  <a:tcPr marL="121920" marR="121920" marT="60960" marB="60960" anchor="ctr"/>
                </a:tc>
                <a:extLst>
                  <a:ext uri="{0D108BD9-81ED-4DB2-BD59-A6C34878D82A}">
                    <a16:rowId xmlns:a16="http://schemas.microsoft.com/office/drawing/2014/main" val="234739346"/>
                  </a:ext>
                </a:extLst>
              </a:tr>
              <a:tr h="4876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487680">
                <a:tc>
                  <a:txBody>
                    <a:bodyPr/>
                    <a:lstStyle/>
                    <a:p>
                      <a:r>
                        <a:rPr lang="en-US" sz="900" dirty="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r h="487680">
                <a:tc>
                  <a:txBody>
                    <a:bodyPr/>
                    <a:lstStyle/>
                    <a:p>
                      <a:r>
                        <a:rPr lang="en-US" sz="800"/>
                        <a:t>Statu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if Active is set to 0 – “Status = 0, Process was not run.”</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Success”</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Error message from process”</a:t>
                      </a:r>
                    </a:p>
                  </a:txBody>
                  <a:tcPr marL="121920" marR="121920" marT="60960" marB="60960" anchor="ctr"/>
                </a:tc>
                <a:tc>
                  <a:txBody>
                    <a:bodyPr/>
                    <a:lstStyle/>
                    <a:p>
                      <a:endParaRPr lang="en-US" sz="800" b="1"/>
                    </a:p>
                  </a:txBody>
                  <a:tcPr marL="121920" marR="121920" marT="60960" marB="60960" anchor="ctr"/>
                </a:tc>
                <a:extLst>
                  <a:ext uri="{0D108BD9-81ED-4DB2-BD59-A6C34878D82A}">
                    <a16:rowId xmlns:a16="http://schemas.microsoft.com/office/drawing/2014/main" val="2633014404"/>
                  </a:ext>
                </a:extLst>
              </a:tr>
              <a:tr h="288269">
                <a:tc>
                  <a:txBody>
                    <a:bodyPr/>
                    <a:lstStyle/>
                    <a:p>
                      <a:r>
                        <a:rPr lang="en-US" sz="800"/>
                        <a:t>Duration</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How long it took to run the .</a:t>
                      </a:r>
                      <a:r>
                        <a:rPr lang="en-US" sz="800" err="1"/>
                        <a:t>sql</a:t>
                      </a:r>
                      <a:r>
                        <a:rPr lang="en-US" sz="800"/>
                        <a:t> statement in Seconds</a:t>
                      </a:r>
                    </a:p>
                  </a:txBody>
                  <a:tcPr marL="121920" marR="121920" marT="60960" marB="60960" anchor="ctr"/>
                </a:tc>
                <a:tc>
                  <a:txBody>
                    <a:bodyPr/>
                    <a:lstStyle/>
                    <a:p>
                      <a:r>
                        <a:rPr lang="en-US" sz="800" b="0" dirty="0"/>
                        <a:t>0-N seconds</a:t>
                      </a:r>
                    </a:p>
                  </a:txBody>
                  <a:tcPr marL="121920" marR="121920" marT="60960" marB="60960" anchor="ctr"/>
                </a:tc>
                <a:extLst>
                  <a:ext uri="{0D108BD9-81ED-4DB2-BD59-A6C34878D82A}">
                    <a16:rowId xmlns:a16="http://schemas.microsoft.com/office/drawing/2014/main" val="1529705679"/>
                  </a:ext>
                </a:extLst>
              </a:tr>
            </a:tbl>
          </a:graphicData>
        </a:graphic>
      </p:graphicFrame>
      <p:sp>
        <p:nvSpPr>
          <p:cNvPr id="27" name="TextBox 26">
            <a:extLst>
              <a:ext uri="{FF2B5EF4-FFF2-40B4-BE49-F238E27FC236}">
                <a16:creationId xmlns:a16="http://schemas.microsoft.com/office/drawing/2014/main" id="{0D9D5CAD-CCC9-480D-BD43-D21FB50D3783}"/>
              </a:ext>
            </a:extLst>
          </p:cNvPr>
          <p:cNvSpPr txBox="1"/>
          <p:nvPr/>
        </p:nvSpPr>
        <p:spPr>
          <a:xfrm>
            <a:off x="205463" y="974283"/>
            <a:ext cx="10144760" cy="430887"/>
          </a:xfrm>
          <a:prstGeom prst="rect">
            <a:avLst/>
          </a:prstGeom>
          <a:noFill/>
        </p:spPr>
        <p:txBody>
          <a:bodyPr wrap="square" lIns="0" tIns="0" rIns="0" bIns="0" rtlCol="0">
            <a:spAutoFit/>
          </a:bodyPr>
          <a:lstStyle/>
          <a:p>
            <a:pPr defTabSz="1219120"/>
            <a:r>
              <a:rPr lang="en-US" sz="1400">
                <a:gradFill>
                  <a:gsLst>
                    <a:gs pos="0">
                      <a:srgbClr val="292929"/>
                    </a:gs>
                    <a:gs pos="86000">
                      <a:srgbClr val="292929"/>
                    </a:gs>
                  </a:gsLst>
                  <a:lin ang="5400000" scaled="0"/>
                </a:gradFill>
                <a:latin typeface="Segoe UI"/>
              </a:rPr>
              <a:t>6. The Output file is a CSV that records the status and duration of the statement run.  This file can be used as the input for a second run.  In a second run only the failed lines will be run.</a:t>
            </a:r>
          </a:p>
        </p:txBody>
      </p:sp>
    </p:spTree>
    <p:extLst>
      <p:ext uri="{BB962C8B-B14F-4D97-AF65-F5344CB8AC3E}">
        <p14:creationId xmlns:p14="http://schemas.microsoft.com/office/powerpoint/2010/main" val="339100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TextBox 73">
            <a:extLst>
              <a:ext uri="{FF2B5EF4-FFF2-40B4-BE49-F238E27FC236}">
                <a16:creationId xmlns:a16="http://schemas.microsoft.com/office/drawing/2014/main" id="{6A60764F-2F1D-4BE4-9F77-123399E62200}"/>
              </a:ext>
            </a:extLst>
          </p:cNvPr>
          <p:cNvSpPr txBox="1"/>
          <p:nvPr/>
        </p:nvSpPr>
        <p:spPr>
          <a:xfrm>
            <a:off x="162979" y="324700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VS Script Config File</a:t>
            </a:r>
          </a:p>
        </p:txBody>
      </p:sp>
      <p:pic>
        <p:nvPicPr>
          <p:cNvPr id="75" name="Picture 74">
            <a:extLst>
              <a:ext uri="{FF2B5EF4-FFF2-40B4-BE49-F238E27FC236}">
                <a16:creationId xmlns:a16="http://schemas.microsoft.com/office/drawing/2014/main" id="{803F3CB5-9663-45A2-A71F-F81841199A73}"/>
              </a:ext>
            </a:extLst>
          </p:cNvPr>
          <p:cNvPicPr>
            <a:picLocks noChangeAspect="1"/>
          </p:cNvPicPr>
          <p:nvPr/>
        </p:nvPicPr>
        <p:blipFill>
          <a:blip r:embed="rId4"/>
          <a:stretch>
            <a:fillRect/>
          </a:stretch>
        </p:blipFill>
        <p:spPr>
          <a:xfrm>
            <a:off x="4545030" y="1140877"/>
            <a:ext cx="787221" cy="925188"/>
          </a:xfrm>
          <a:prstGeom prst="rect">
            <a:avLst/>
          </a:prstGeom>
        </p:spPr>
      </p:pic>
      <p:pic>
        <p:nvPicPr>
          <p:cNvPr id="76" name="Picture 75">
            <a:extLst>
              <a:ext uri="{FF2B5EF4-FFF2-40B4-BE49-F238E27FC236}">
                <a16:creationId xmlns:a16="http://schemas.microsoft.com/office/drawing/2014/main" id="{EC17347B-ED63-4FA7-AA11-C1566B5C7F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7396" y="2275680"/>
            <a:ext cx="882807" cy="882807"/>
          </a:xfrm>
          <a:prstGeom prst="rect">
            <a:avLst/>
          </a:prstGeom>
        </p:spPr>
      </p:pic>
      <p:sp>
        <p:nvSpPr>
          <p:cNvPr id="77" name="TextBox 76">
            <a:extLst>
              <a:ext uri="{FF2B5EF4-FFF2-40B4-BE49-F238E27FC236}">
                <a16:creationId xmlns:a16="http://schemas.microsoft.com/office/drawing/2014/main" id="{AD7CEADB-EDF5-47E4-A8F6-8CBECA3A9D4E}"/>
              </a:ext>
            </a:extLst>
          </p:cNvPr>
          <p:cNvSpPr txBox="1"/>
          <p:nvPr/>
        </p:nvSpPr>
        <p:spPr>
          <a:xfrm>
            <a:off x="2290105" y="3175853"/>
            <a:ext cx="3551177"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DSQLScrip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Prompts: Login Info, Config File Location, log file location.</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ads the Config fil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Loops through Config file and executes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 where Active = 1</a:t>
            </a:r>
          </a:p>
        </p:txBody>
      </p:sp>
      <p:sp>
        <p:nvSpPr>
          <p:cNvPr id="78" name="Arrow: Right 77">
            <a:extLst>
              <a:ext uri="{FF2B5EF4-FFF2-40B4-BE49-F238E27FC236}">
                <a16:creationId xmlns:a16="http://schemas.microsoft.com/office/drawing/2014/main" id="{2A230353-B782-47AA-889E-1788E3884B7F}"/>
              </a:ext>
            </a:extLst>
          </p:cNvPr>
          <p:cNvSpPr/>
          <p:nvPr/>
        </p:nvSpPr>
        <p:spPr>
          <a:xfrm>
            <a:off x="4557454" y="255756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473553EC-4A8F-4906-9456-26ADC60F7AA5}"/>
              </a:ext>
            </a:extLst>
          </p:cNvPr>
          <p:cNvSpPr txBox="1"/>
          <p:nvPr/>
        </p:nvSpPr>
        <p:spPr>
          <a:xfrm>
            <a:off x="2920530" y="1221730"/>
            <a:ext cx="17240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chema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p:txBody>
      </p:sp>
      <p:pic>
        <p:nvPicPr>
          <p:cNvPr id="80" name="Picture 79">
            <a:extLst>
              <a:ext uri="{FF2B5EF4-FFF2-40B4-BE49-F238E27FC236}">
                <a16:creationId xmlns:a16="http://schemas.microsoft.com/office/drawing/2014/main" id="{E29D81E1-AEC5-49D2-9CB4-33CF5723E5B3}"/>
              </a:ext>
            </a:extLst>
          </p:cNvPr>
          <p:cNvPicPr>
            <a:picLocks noChangeAspect="1"/>
          </p:cNvPicPr>
          <p:nvPr/>
        </p:nvPicPr>
        <p:blipFill>
          <a:blip r:embed="rId6"/>
          <a:stretch>
            <a:fillRect/>
          </a:stretch>
        </p:blipFill>
        <p:spPr>
          <a:xfrm>
            <a:off x="655139" y="2211027"/>
            <a:ext cx="810311" cy="952323"/>
          </a:xfrm>
          <a:prstGeom prst="rect">
            <a:avLst/>
          </a:prstGeom>
        </p:spPr>
      </p:pic>
      <p:pic>
        <p:nvPicPr>
          <p:cNvPr id="81" name="Picture 80">
            <a:extLst>
              <a:ext uri="{FF2B5EF4-FFF2-40B4-BE49-F238E27FC236}">
                <a16:creationId xmlns:a16="http://schemas.microsoft.com/office/drawing/2014/main" id="{F054F959-1128-4013-9E9B-FA2E8447C8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0718" y="2350264"/>
            <a:ext cx="882807" cy="882807"/>
          </a:xfrm>
          <a:prstGeom prst="rect">
            <a:avLst/>
          </a:prstGeom>
        </p:spPr>
      </p:pic>
      <p:sp>
        <p:nvSpPr>
          <p:cNvPr id="82" name="Rectangle 81">
            <a:extLst>
              <a:ext uri="{FF2B5EF4-FFF2-40B4-BE49-F238E27FC236}">
                <a16:creationId xmlns:a16="http://schemas.microsoft.com/office/drawing/2014/main" id="{C95D8FCC-792E-4590-ACDA-84A79304C3DA}"/>
              </a:ext>
            </a:extLst>
          </p:cNvPr>
          <p:cNvSpPr/>
          <p:nvPr/>
        </p:nvSpPr>
        <p:spPr>
          <a:xfrm>
            <a:off x="6083838" y="3249572"/>
            <a:ext cx="3359035"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SQLScriptFileV2.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Drop if Exist if necessar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a:t>
            </a:r>
          </a:p>
        </p:txBody>
      </p:sp>
      <p:sp>
        <p:nvSpPr>
          <p:cNvPr id="84" name="Arrow: Right 83">
            <a:extLst>
              <a:ext uri="{FF2B5EF4-FFF2-40B4-BE49-F238E27FC236}">
                <a16:creationId xmlns:a16="http://schemas.microsoft.com/office/drawing/2014/main" id="{E2A42D68-FA4D-455E-BD3F-BFDDAF214857}"/>
              </a:ext>
            </a:extLst>
          </p:cNvPr>
          <p:cNvSpPr/>
          <p:nvPr/>
        </p:nvSpPr>
        <p:spPr>
          <a:xfrm>
            <a:off x="1523249" y="2519506"/>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Arrow: Right 84">
            <a:extLst>
              <a:ext uri="{FF2B5EF4-FFF2-40B4-BE49-F238E27FC236}">
                <a16:creationId xmlns:a16="http://schemas.microsoft.com/office/drawing/2014/main" id="{3B72AF0C-8BD1-4B34-B90C-91C7F24368B6}"/>
              </a:ext>
            </a:extLst>
          </p:cNvPr>
          <p:cNvSpPr/>
          <p:nvPr/>
        </p:nvSpPr>
        <p:spPr>
          <a:xfrm rot="2297161">
            <a:off x="5455254" y="1926915"/>
            <a:ext cx="756757" cy="38620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Arrow: Right 85">
            <a:extLst>
              <a:ext uri="{FF2B5EF4-FFF2-40B4-BE49-F238E27FC236}">
                <a16:creationId xmlns:a16="http://schemas.microsoft.com/office/drawing/2014/main" id="{3DAABD03-0356-42EE-B92D-799FA7B6771A}"/>
              </a:ext>
            </a:extLst>
          </p:cNvPr>
          <p:cNvSpPr/>
          <p:nvPr/>
        </p:nvSpPr>
        <p:spPr>
          <a:xfrm>
            <a:off x="7492979" y="2585632"/>
            <a:ext cx="1798811" cy="444644"/>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1BA85DEA-BAA4-4C93-95F9-D43628B8E7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9389" y="2250901"/>
            <a:ext cx="974547" cy="974547"/>
          </a:xfrm>
          <a:prstGeom prst="rect">
            <a:avLst/>
          </a:prstGeom>
        </p:spPr>
      </p:pic>
      <p:sp>
        <p:nvSpPr>
          <p:cNvPr id="88" name="Rectangle 87">
            <a:extLst>
              <a:ext uri="{FF2B5EF4-FFF2-40B4-BE49-F238E27FC236}">
                <a16:creationId xmlns:a16="http://schemas.microsoft.com/office/drawing/2014/main" id="{1315497A-938E-430F-8682-EB8DB88AD41E}"/>
              </a:ext>
            </a:extLst>
          </p:cNvPr>
          <p:cNvSpPr/>
          <p:nvPr/>
        </p:nvSpPr>
        <p:spPr>
          <a:xfrm>
            <a:off x="9443611" y="3244607"/>
            <a:ext cx="2074475"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hema\Table Created</a:t>
            </a:r>
          </a:p>
        </p:txBody>
      </p:sp>
      <p:pic>
        <p:nvPicPr>
          <p:cNvPr id="89" name="Picture 88">
            <a:extLst>
              <a:ext uri="{FF2B5EF4-FFF2-40B4-BE49-F238E27FC236}">
                <a16:creationId xmlns:a16="http://schemas.microsoft.com/office/drawing/2014/main" id="{D45E4F5F-BB26-42B2-AA5A-6E2167623CA8}"/>
              </a:ext>
            </a:extLst>
          </p:cNvPr>
          <p:cNvPicPr>
            <a:picLocks noChangeAspect="1"/>
          </p:cNvPicPr>
          <p:nvPr/>
        </p:nvPicPr>
        <p:blipFill>
          <a:blip r:embed="rId6"/>
          <a:stretch>
            <a:fillRect/>
          </a:stretch>
        </p:blipFill>
        <p:spPr>
          <a:xfrm>
            <a:off x="7679738" y="1110834"/>
            <a:ext cx="675368" cy="793730"/>
          </a:xfrm>
          <a:prstGeom prst="rect">
            <a:avLst/>
          </a:prstGeom>
        </p:spPr>
      </p:pic>
      <p:sp>
        <p:nvSpPr>
          <p:cNvPr id="90" name="Arrow: Right 89">
            <a:extLst>
              <a:ext uri="{FF2B5EF4-FFF2-40B4-BE49-F238E27FC236}">
                <a16:creationId xmlns:a16="http://schemas.microsoft.com/office/drawing/2014/main" id="{02AF4C18-8C5C-40A1-98BB-79AE7EB421E9}"/>
              </a:ext>
            </a:extLst>
          </p:cNvPr>
          <p:cNvSpPr/>
          <p:nvPr/>
        </p:nvSpPr>
        <p:spPr>
          <a:xfrm rot="18621990">
            <a:off x="7080294" y="1916946"/>
            <a:ext cx="685836"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680365A5-5520-452A-B6CC-152E9986EE7F}"/>
              </a:ext>
            </a:extLst>
          </p:cNvPr>
          <p:cNvSpPr txBox="1"/>
          <p:nvPr/>
        </p:nvSpPr>
        <p:spPr>
          <a:xfrm>
            <a:off x="8426465" y="1092200"/>
            <a:ext cx="3441152"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tatus Log</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0 if run successfull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1 on Failur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cords Status/Error Msg</a:t>
            </a:r>
          </a:p>
        </p:txBody>
      </p:sp>
      <p:sp>
        <p:nvSpPr>
          <p:cNvPr id="42" name="TextBox 41">
            <a:extLst>
              <a:ext uri="{FF2B5EF4-FFF2-40B4-BE49-F238E27FC236}">
                <a16:creationId xmlns:a16="http://schemas.microsoft.com/office/drawing/2014/main" id="{DCEBD024-C0FC-4923-9CC7-1471DFEE1463}"/>
              </a:ext>
            </a:extLst>
          </p:cNvPr>
          <p:cNvSpPr txBox="1"/>
          <p:nvPr/>
        </p:nvSpPr>
        <p:spPr>
          <a:xfrm>
            <a:off x="162979" y="4483222"/>
            <a:ext cx="861111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tables/views/SPs in SQLDW.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SqldwCreateTablesViewsAndSPs.csv</a:t>
            </a:r>
          </a:p>
        </p:txBody>
      </p:sp>
      <p:pic>
        <p:nvPicPr>
          <p:cNvPr id="25" name="Picture 24">
            <a:extLst>
              <a:ext uri="{FF2B5EF4-FFF2-40B4-BE49-F238E27FC236}">
                <a16:creationId xmlns:a16="http://schemas.microsoft.com/office/drawing/2014/main" id="{140F6583-AC76-478A-9733-F848D40D68A0}"/>
              </a:ext>
            </a:extLst>
          </p:cNvPr>
          <p:cNvPicPr>
            <a:picLocks noChangeAspect="1"/>
          </p:cNvPicPr>
          <p:nvPr/>
        </p:nvPicPr>
        <p:blipFill>
          <a:blip r:embed="rId8"/>
          <a:stretch>
            <a:fillRect/>
          </a:stretch>
        </p:blipFill>
        <p:spPr>
          <a:xfrm>
            <a:off x="162979" y="4790433"/>
            <a:ext cx="11721101" cy="1560813"/>
          </a:xfrm>
          <a:prstGeom prst="rect">
            <a:avLst/>
          </a:prstGeom>
        </p:spPr>
      </p:pic>
      <p:sp>
        <p:nvSpPr>
          <p:cNvPr id="43" name="Speech Bubble: Rectangle 42">
            <a:extLst>
              <a:ext uri="{FF2B5EF4-FFF2-40B4-BE49-F238E27FC236}">
                <a16:creationId xmlns:a16="http://schemas.microsoft.com/office/drawing/2014/main" id="{5D4BC1E5-9B4E-4BBA-94DC-C004386AD27D}"/>
              </a:ext>
            </a:extLst>
          </p:cNvPr>
          <p:cNvSpPr/>
          <p:nvPr/>
        </p:nvSpPr>
        <p:spPr>
          <a:xfrm>
            <a:off x="9404355" y="3742997"/>
            <a:ext cx="2496577" cy="612302"/>
          </a:xfrm>
          <a:prstGeom prst="wedgeRectCallout">
            <a:avLst>
              <a:gd name="adj1" fmla="val -35941"/>
              <a:gd name="adj2" fmla="val 115423"/>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now set to a desirable value, such as “dev”, “prod”, “test”</a:t>
            </a:r>
          </a:p>
        </p:txBody>
      </p:sp>
    </p:spTree>
    <p:extLst>
      <p:ext uri="{BB962C8B-B14F-4D97-AF65-F5344CB8AC3E}">
        <p14:creationId xmlns:p14="http://schemas.microsoft.com/office/powerpoint/2010/main" val="32020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EC1AA17E-952B-40D3-B469-2D18C57B8B6B}"/>
              </a:ext>
            </a:extLst>
          </p:cNvPr>
          <p:cNvSpPr txBox="1"/>
          <p:nvPr/>
        </p:nvSpPr>
        <p:spPr>
          <a:xfrm>
            <a:off x="440180" y="1156044"/>
            <a:ext cx="1045813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external tables in APS and Export APS Data.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ApsCreateExtTablesAndExportData.csv</a:t>
            </a:r>
          </a:p>
        </p:txBody>
      </p:sp>
      <p:pic>
        <p:nvPicPr>
          <p:cNvPr id="5" name="Picture 4">
            <a:extLst>
              <a:ext uri="{FF2B5EF4-FFF2-40B4-BE49-F238E27FC236}">
                <a16:creationId xmlns:a16="http://schemas.microsoft.com/office/drawing/2014/main" id="{D188F6FE-76F2-4BEF-9054-CAC062AFB47F}"/>
              </a:ext>
            </a:extLst>
          </p:cNvPr>
          <p:cNvPicPr>
            <a:picLocks noChangeAspect="1"/>
          </p:cNvPicPr>
          <p:nvPr/>
        </p:nvPicPr>
        <p:blipFill>
          <a:blip r:embed="rId4"/>
          <a:stretch>
            <a:fillRect/>
          </a:stretch>
        </p:blipFill>
        <p:spPr>
          <a:xfrm>
            <a:off x="2200143" y="3163407"/>
            <a:ext cx="3100695" cy="2812258"/>
          </a:xfrm>
          <a:prstGeom prst="rect">
            <a:avLst/>
          </a:prstGeom>
        </p:spPr>
      </p:pic>
      <p:pic>
        <p:nvPicPr>
          <p:cNvPr id="2" name="Picture 1">
            <a:extLst>
              <a:ext uri="{FF2B5EF4-FFF2-40B4-BE49-F238E27FC236}">
                <a16:creationId xmlns:a16="http://schemas.microsoft.com/office/drawing/2014/main" id="{50E91E24-2250-4E72-A83E-58F3128CADD2}"/>
              </a:ext>
            </a:extLst>
          </p:cNvPr>
          <p:cNvPicPr>
            <a:picLocks noChangeAspect="1"/>
          </p:cNvPicPr>
          <p:nvPr/>
        </p:nvPicPr>
        <p:blipFill>
          <a:blip r:embed="rId5"/>
          <a:stretch>
            <a:fillRect/>
          </a:stretch>
        </p:blipFill>
        <p:spPr>
          <a:xfrm>
            <a:off x="379044" y="1782593"/>
            <a:ext cx="11277600" cy="1042154"/>
          </a:xfrm>
          <a:prstGeom prst="rect">
            <a:avLst/>
          </a:prstGeom>
        </p:spPr>
      </p:pic>
      <p:sp>
        <p:nvSpPr>
          <p:cNvPr id="36" name="TextBox 35">
            <a:extLst>
              <a:ext uri="{FF2B5EF4-FFF2-40B4-BE49-F238E27FC236}">
                <a16:creationId xmlns:a16="http://schemas.microsoft.com/office/drawing/2014/main" id="{A8061AD6-F212-4102-8318-9BFA3D6BFA93}"/>
              </a:ext>
            </a:extLst>
          </p:cNvPr>
          <p:cNvSpPr txBox="1"/>
          <p:nvPr/>
        </p:nvSpPr>
        <p:spPr>
          <a:xfrm>
            <a:off x="302528" y="3576116"/>
            <a:ext cx="2017885" cy="193899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Initially, we set {@Var}=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We exported production APS DB.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marL="0" marR="0" lvl="0" indent="0" defTabSz="1219120" eaLnBrk="1" fontAlgn="auto" latinLnBrk="0" hangingPunct="1">
              <a:lnSpc>
                <a:spcPct val="100000"/>
              </a:lnSpc>
              <a:spcBef>
                <a:spcPts val="0"/>
              </a:spcBef>
              <a:spcAft>
                <a:spcPts val="0"/>
              </a:spcAft>
              <a:buClrTx/>
              <a:buSzTx/>
              <a:buFontTx/>
              <a:buNone/>
              <a:tabLst/>
              <a:defRPr/>
            </a:pPr>
            <a:r>
              <a:rPr lang="en-US" sz="1200" kern="0"/>
              <a:t>The result is illustrated on the right. </a:t>
            </a:r>
            <a:endParaRPr kumimoji="0" lang="en-US" sz="1200" i="0" u="none" strike="noStrike" kern="0" cap="none" spc="0" normalizeH="0" baseline="0" noProof="0">
              <a:ln>
                <a:noFill/>
              </a:ln>
              <a:effectLst/>
              <a:uLnTx/>
              <a:uFillTx/>
            </a:endParaRPr>
          </a:p>
        </p:txBody>
      </p:sp>
      <p:pic>
        <p:nvPicPr>
          <p:cNvPr id="4" name="Picture 3">
            <a:extLst>
              <a:ext uri="{FF2B5EF4-FFF2-40B4-BE49-F238E27FC236}">
                <a16:creationId xmlns:a16="http://schemas.microsoft.com/office/drawing/2014/main" id="{196C01FB-9C4B-4756-ABC0-08764B38073E}"/>
              </a:ext>
            </a:extLst>
          </p:cNvPr>
          <p:cNvPicPr>
            <a:picLocks noChangeAspect="1"/>
          </p:cNvPicPr>
          <p:nvPr/>
        </p:nvPicPr>
        <p:blipFill>
          <a:blip r:embed="rId6"/>
          <a:stretch>
            <a:fillRect/>
          </a:stretch>
        </p:blipFill>
        <p:spPr>
          <a:xfrm>
            <a:off x="8453569" y="3115560"/>
            <a:ext cx="3076575" cy="2590800"/>
          </a:xfrm>
          <a:prstGeom prst="rect">
            <a:avLst/>
          </a:prstGeom>
        </p:spPr>
      </p:pic>
      <p:sp>
        <p:nvSpPr>
          <p:cNvPr id="38" name="TextBox 37">
            <a:extLst>
              <a:ext uri="{FF2B5EF4-FFF2-40B4-BE49-F238E27FC236}">
                <a16:creationId xmlns:a16="http://schemas.microsoft.com/office/drawing/2014/main" id="{D8655711-B534-4823-825D-1BB2FE42C43D}"/>
              </a:ext>
            </a:extLst>
          </p:cNvPr>
          <p:cNvSpPr txBox="1"/>
          <p:nvPr/>
        </p:nvSpPr>
        <p:spPr>
          <a:xfrm>
            <a:off x="6189510" y="3323117"/>
            <a:ext cx="2017885" cy="286232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After previous step,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292929"/>
              </a:solidFill>
              <a:effectLst/>
              <a:uLnTx/>
              <a:uFillTx/>
            </a:endParaRPr>
          </a:p>
          <a:p>
            <a:pPr lvl="0" defTabSz="1219120">
              <a:defRPr/>
            </a:pPr>
            <a:r>
              <a:rPr lang="en-US" sz="1200" kern="0">
                <a:solidFill>
                  <a:srgbClr val="292929"/>
                </a:solidFill>
              </a:rPr>
              <a:t>We could, if needed, set {@Var}=dev</a:t>
            </a:r>
          </a:p>
          <a:p>
            <a:pPr lvl="0" defTabSz="1219120">
              <a:defRPr/>
            </a:pPr>
            <a:endParaRPr lang="en-US" sz="1200" kern="0">
              <a:solidFill>
                <a:srgbClr val="292929"/>
              </a:solidFill>
            </a:endParaRPr>
          </a:p>
          <a:p>
            <a:pPr lvl="0" defTabSz="1219120">
              <a:defRPr/>
            </a:pPr>
            <a:r>
              <a:rPr lang="en-US" sz="1200" kern="0">
                <a:solidFill>
                  <a:srgbClr val="292929"/>
                </a:solidFill>
              </a:rPr>
              <a:t>Then we perform the APS export again, this time, exported data to this location: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dev/</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defTabSz="1219120">
              <a:defRPr/>
            </a:pPr>
            <a:r>
              <a:rPr lang="en-US" sz="1200" kern="0"/>
              <a:t>The result is illustrated on the right.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0000FF"/>
              </a:solidFill>
              <a:effectLst/>
              <a:uLnTx/>
              <a:uFillTx/>
            </a:endParaRPr>
          </a:p>
        </p:txBody>
      </p:sp>
      <p:cxnSp>
        <p:nvCxnSpPr>
          <p:cNvPr id="25" name="Straight Connector 24">
            <a:extLst>
              <a:ext uri="{FF2B5EF4-FFF2-40B4-BE49-F238E27FC236}">
                <a16:creationId xmlns:a16="http://schemas.microsoft.com/office/drawing/2014/main" id="{08E7408A-BC35-4D82-94A0-6A33CCB3F82B}"/>
              </a:ext>
            </a:extLst>
          </p:cNvPr>
          <p:cNvCxnSpPr/>
          <p:nvPr/>
        </p:nvCxnSpPr>
        <p:spPr>
          <a:xfrm>
            <a:off x="5669247" y="3115560"/>
            <a:ext cx="0" cy="2860105"/>
          </a:xfrm>
          <a:prstGeom prst="line">
            <a:avLst/>
          </a:prstGeom>
          <a:ln w="22225">
            <a:prstDash val="sysDash"/>
            <a:headEnd type="none"/>
            <a:tailEnd type="non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9708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chema Change (done by </a:t>
            </a:r>
            <a:r>
              <a:rPr lang="en-US" sz="4000">
                <a:solidFill>
                  <a:srgbClr val="FFFFFF"/>
                </a:solidFill>
                <a:latin typeface="Segoe UI Light" panose="020B0502040204020203" pitchFamily="34" charset="0"/>
                <a:cs typeface="Segoe UI Light" panose="020B0502040204020203" pitchFamily="34" charset="0"/>
              </a:rPr>
              <a:t>Python Program</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4" name="TextBox 3">
            <a:extLst>
              <a:ext uri="{FF2B5EF4-FFF2-40B4-BE49-F238E27FC236}">
                <a16:creationId xmlns:a16="http://schemas.microsoft.com/office/drawing/2014/main" id="{DF6CC1F4-E214-43D2-9848-021D22E05AB5}"/>
              </a:ext>
            </a:extLst>
          </p:cNvPr>
          <p:cNvSpPr txBox="1"/>
          <p:nvPr/>
        </p:nvSpPr>
        <p:spPr>
          <a:xfrm>
            <a:off x="6428616" y="2700845"/>
            <a:ext cx="5444342" cy="2308324"/>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endPar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724360" y="2700845"/>
            <a:ext cx="5371640" cy="3416320"/>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STAG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More lines omitted </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targetTableDele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86424" y="1235184"/>
            <a:ext cx="108411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schema mapping must be performed for all “Create Table” statements. ‘Heap’ Table must be specified explicitly in SQLDW. Otherwise, SQLDW creates Clustered </a:t>
            </a:r>
            <a:r>
              <a:rPr kumimoji="0" lang="en-US" sz="1800" b="0" i="0" u="none" strike="noStrike" kern="1200" cap="none" spc="0" normalizeH="0" baseline="0" noProof="0" err="1">
                <a:ln>
                  <a:noFill/>
                </a:ln>
                <a:solidFill>
                  <a:srgbClr val="000000"/>
                </a:solidFill>
                <a:effectLst/>
                <a:uLnTx/>
                <a:uFillTx/>
                <a:latin typeface="Segoe UI"/>
                <a:ea typeface="+mn-ea"/>
                <a:cs typeface="+mn-cs"/>
              </a:rPr>
              <a:t>ColumnStore</a:t>
            </a:r>
            <a:r>
              <a:rPr kumimoji="0" lang="en-US" sz="1800" b="0" i="0" u="none" strike="noStrike" kern="1200" cap="none" spc="0" normalizeH="0" baseline="0" noProof="0">
                <a:ln>
                  <a:noFill/>
                </a:ln>
                <a:solidFill>
                  <a:srgbClr val="000000"/>
                </a:solidFill>
                <a:effectLst/>
                <a:uLnTx/>
                <a:uFillTx/>
                <a:latin typeface="Segoe UI"/>
                <a:ea typeface="+mn-ea"/>
                <a:cs typeface="+mn-cs"/>
              </a:rPr>
              <a:t> Index (CCI) for the table.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86424" y="217018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Create Table</a:t>
            </a:r>
          </a:p>
        </p:txBody>
      </p:sp>
      <p:sp>
        <p:nvSpPr>
          <p:cNvPr id="29" name="TextBox 28">
            <a:extLst>
              <a:ext uri="{FF2B5EF4-FFF2-40B4-BE49-F238E27FC236}">
                <a16:creationId xmlns:a16="http://schemas.microsoft.com/office/drawing/2014/main" id="{6FBECDAD-6FF2-46E3-BF33-4DDE5729E4EA}"/>
              </a:ext>
            </a:extLst>
          </p:cNvPr>
          <p:cNvSpPr txBox="1"/>
          <p:nvPr/>
        </p:nvSpPr>
        <p:spPr>
          <a:xfrm>
            <a:off x="6428616" y="2170180"/>
            <a:ext cx="54106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Create Table (Same table)</a:t>
            </a:r>
          </a:p>
        </p:txBody>
      </p:sp>
      <p:grpSp>
        <p:nvGrpSpPr>
          <p:cNvPr id="8" name="Group 7">
            <a:extLst>
              <a:ext uri="{FF2B5EF4-FFF2-40B4-BE49-F238E27FC236}">
                <a16:creationId xmlns:a16="http://schemas.microsoft.com/office/drawing/2014/main" id="{B4F17FBA-8C89-477B-B3E4-3E3681BA93D9}"/>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E842685C-FC03-4D46-90BA-7269F0696DD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9EA65FC5-39DC-4E0A-8EF9-CB16F75FA3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0B3CFC7F-875A-4D51-95A9-360C42DA0E4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F815461A-7E3F-42F1-AD06-A78E58976C25}"/>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A173558-F03E-4ED4-AC91-502C711DB705}"/>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405B9322-4055-494D-A7EA-A765518CEE7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8A84D1AF-24B3-4C2B-B94B-DD1F6F2B221E}"/>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D062CAF8-1D40-4006-BEDA-2025E671FC9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0B2AF754-104A-457A-BBB7-5E724F3002B9}"/>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715C42E6-D0BF-4AF6-8FFB-C0CE3F5CFD9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4E622BF8-68E0-4A3A-B215-4248A04E2EB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A855EDEF-907E-4D0F-9D8A-DD915DE9EF8B}"/>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62664EC9-8026-4B2C-87D4-7713F7BAAA6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58510DFD-1D22-489F-A162-A7FB5DA89E0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2471BEAE-EAA7-4158-8EA3-52B00666058C}"/>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338B843E-CB56-480A-ACC8-A378E5695DAC}"/>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0C430039-AA39-47D5-A1A8-0282CF57F75D}"/>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6993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tats and Index Change </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a:t>
            </a:r>
            <a:r>
              <a:rPr lang="en-US" sz="3600">
                <a:solidFill>
                  <a:srgbClr val="FFFFFF"/>
                </a:solidFill>
                <a:latin typeface="Segoe UI Light" panose="020B0502040204020203" pitchFamily="34" charset="0"/>
                <a:cs typeface="Segoe UI Light" panose="020B0502040204020203" pitchFamily="34" charset="0"/>
              </a:rPr>
              <a:t>done by Python Program</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6370414" y="3121582"/>
            <a:ext cx="5444342" cy="2862322"/>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B347">
                    <a:lumMod val="75000"/>
                  </a:srgbClr>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666158" y="3121582"/>
            <a:ext cx="5371640" cy="2862322"/>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DATAWAREHOUS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61880" y="1152162"/>
            <a:ext cx="1060052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o speed up the data migration, we will remove “Create Index” and “Create Statistics” statements, put them in a separate file, update the schemas, save the file for later use. After the data migration, these Indexes and Statistics will be created in SQLDW environment.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61880" y="2326802"/>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A5F3790F-01B4-4341-9100-7EBCAA3799DB}"/>
              </a:ext>
            </a:extLst>
          </p:cNvPr>
          <p:cNvSpPr txBox="1"/>
          <p:nvPr/>
        </p:nvSpPr>
        <p:spPr>
          <a:xfrm>
            <a:off x="6370414" y="2354764"/>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121408-9ED3-4C40-86EA-3DA79DA5A59C}"/>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9BC1BB82-D790-404C-8A1D-D8E078DAE0B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A98F6212-0373-4DED-ACB4-CCF6D7A9E9D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E3B0DFF4-F93B-4AE3-8EE4-C1F62A1E5DD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A8F2B3BA-87D2-41C2-B21D-38E84ED420D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69194CF-E951-4ADD-A083-F77E87A3CD6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5B63F613-32FC-4947-A2BF-932EC45FD03E}"/>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D2B50BB6-AEEE-4201-BA33-7DADE63E71BF}"/>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0CF48546-2D91-4AF6-BE0C-7B81ED0876F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F8631A1A-64CB-4892-8EF3-617081CE8BAF}"/>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0969C805-053B-40F8-881D-CA101DA880A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EABEF1C6-A05F-4DDF-9B9D-31B68A1AF4C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00120C25-617D-4687-840B-DC3C1D90F8F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A6ABD198-C932-4671-A95B-A144C0837683}"/>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0F13772C-E772-4E7B-B9F7-B4CD0D78381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6D45BBE5-35A6-47E1-84CD-78A9214FB77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CBEE14C9-A393-4D20-9E6F-EB55B8E74CB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AFEA685D-9B2F-44F5-AAE9-27BEAB16F49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3078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ew Schema Change </a:t>
            </a:r>
            <a:r>
              <a:rPr lang="en-US" sz="4000">
                <a:solidFill>
                  <a:srgbClr val="FFFFFF"/>
                </a:solidFill>
                <a:latin typeface="Segoe UI Light" panose="020B0502040204020203" pitchFamily="34" charset="0"/>
                <a:cs typeface="Segoe UI Light" panose="020B0502040204020203" pitchFamily="34" charset="0"/>
              </a:rPr>
              <a:t>(done by Python Program)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F6CC1F4-E214-43D2-9848-021D22E05AB5}"/>
              </a:ext>
            </a:extLst>
          </p:cNvPr>
          <p:cNvSpPr txBox="1"/>
          <p:nvPr/>
        </p:nvSpPr>
        <p:spPr>
          <a:xfrm>
            <a:off x="846011" y="4395099"/>
            <a:ext cx="10269839"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after change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4CF497D2-A9DE-404E-83A9-94B957330343}"/>
              </a:ext>
            </a:extLst>
          </p:cNvPr>
          <p:cNvSpPr txBox="1"/>
          <p:nvPr/>
        </p:nvSpPr>
        <p:spPr>
          <a:xfrm>
            <a:off x="846011" y="2290391"/>
            <a:ext cx="10107154"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before change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43191ADC-DE16-44E9-8F4F-68367B55DD1B}"/>
              </a:ext>
            </a:extLst>
          </p:cNvPr>
          <p:cNvSpPr/>
          <p:nvPr/>
        </p:nvSpPr>
        <p:spPr>
          <a:xfrm>
            <a:off x="1229244" y="1066110"/>
            <a:ext cx="802155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chema mapping in Views. Same DDL schema mapping rules apply to Vie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is is performed manually. Simple views can be changed by scripting tool. </a:t>
            </a:r>
          </a:p>
        </p:txBody>
      </p:sp>
      <p:sp>
        <p:nvSpPr>
          <p:cNvPr id="28" name="TextBox 27">
            <a:extLst>
              <a:ext uri="{FF2B5EF4-FFF2-40B4-BE49-F238E27FC236}">
                <a16:creationId xmlns:a16="http://schemas.microsoft.com/office/drawing/2014/main" id="{44E1B472-5F6A-4513-871D-C67FDDEF5D8B}"/>
              </a:ext>
            </a:extLst>
          </p:cNvPr>
          <p:cNvSpPr txBox="1"/>
          <p:nvPr/>
        </p:nvSpPr>
        <p:spPr>
          <a:xfrm>
            <a:off x="846011" y="181675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View (Before and After): </a:t>
            </a:r>
          </a:p>
        </p:txBody>
      </p:sp>
      <p:grpSp>
        <p:nvGrpSpPr>
          <p:cNvPr id="7" name="Group 6">
            <a:extLst>
              <a:ext uri="{FF2B5EF4-FFF2-40B4-BE49-F238E27FC236}">
                <a16:creationId xmlns:a16="http://schemas.microsoft.com/office/drawing/2014/main" id="{DCCA7BDD-D3C6-42D4-B12F-A067061E9451}"/>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7C2E1F90-D31E-485B-B717-B00453E0F9F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B40CA0A0-AD37-460F-AA26-EFE0E0F391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A6522027-CB38-40C6-A135-C5E476FE826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02386644-1350-4183-9DB2-EC2E7273DB0D}"/>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45AE32D4-BD46-47F4-87FD-1DB64651A3C7}"/>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C59EB3D-6568-46CE-8737-17C51E9DE68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9625815B-1596-4D94-B2BE-C501733C784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639BBD64-2BAF-4405-8584-10880EF35AC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1744B46-BB9F-43F4-A64F-8B1E5DF6554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CEFA3A87-B2AA-4E15-9B30-C6486EC2DA1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3C388A02-96C3-41C2-8C8F-CE323634F17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122A880-2F9B-4757-93BE-8CF573E3ACB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72EB8980-5B94-4A3E-B20C-BB3EFE5B629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30463DC8-2819-440D-9F25-7582F507C17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A82E8C08-6A74-4DF2-BFF5-C294C1E7F128}"/>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9E1A3A86-D039-45F3-8322-95368C3F2012}"/>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4C984D19-5C69-4608-8772-C9FB5E92A52A}"/>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0376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Questionnaire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pic>
        <p:nvPicPr>
          <p:cNvPr id="3" name="Picture 2">
            <a:extLst>
              <a:ext uri="{FF2B5EF4-FFF2-40B4-BE49-F238E27FC236}">
                <a16:creationId xmlns:a16="http://schemas.microsoft.com/office/drawing/2014/main" id="{CE0404D2-46BE-4E9D-A15A-4C3F39D94568}"/>
              </a:ext>
            </a:extLst>
          </p:cNvPr>
          <p:cNvPicPr>
            <a:picLocks noChangeAspect="1"/>
          </p:cNvPicPr>
          <p:nvPr/>
        </p:nvPicPr>
        <p:blipFill>
          <a:blip r:embed="rId4"/>
          <a:stretch>
            <a:fillRect/>
          </a:stretch>
        </p:blipFill>
        <p:spPr>
          <a:xfrm>
            <a:off x="3380311" y="2367815"/>
            <a:ext cx="8314417" cy="4077653"/>
          </a:xfrm>
          <a:prstGeom prst="rect">
            <a:avLst/>
          </a:prstGeom>
        </p:spPr>
      </p:pic>
      <p:sp>
        <p:nvSpPr>
          <p:cNvPr id="4" name="TextBox 3">
            <a:extLst>
              <a:ext uri="{FF2B5EF4-FFF2-40B4-BE49-F238E27FC236}">
                <a16:creationId xmlns:a16="http://schemas.microsoft.com/office/drawing/2014/main" id="{8973E782-393A-46BB-8B95-A1FDFE7F17EF}"/>
              </a:ext>
            </a:extLst>
          </p:cNvPr>
          <p:cNvSpPr txBox="1"/>
          <p:nvPr/>
        </p:nvSpPr>
        <p:spPr>
          <a:xfrm>
            <a:off x="379044" y="1083336"/>
            <a:ext cx="11607490"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cument is prepared by both you and the customer to help determine the correct Azure infrastructure needed to support their existing and future plans.  </a:t>
            </a:r>
          </a:p>
          <a:p>
            <a:pPr>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80125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Schema Change (</a:t>
            </a:r>
            <a:r>
              <a:rPr lang="en-US" sz="3200">
                <a:solidFill>
                  <a:srgbClr val="FFFFFF"/>
                </a:solidFill>
                <a:latin typeface="Segoe UI Light" panose="020B0502040204020203" pitchFamily="34" charset="0"/>
                <a:cs typeface="Segoe UI Light" panose="020B0502040204020203" pitchFamily="34" charset="0"/>
              </a:rPr>
              <a:t>done by Python Program)</a:t>
            </a: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SP in CCIBI_STAGE DB after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FF0000"/>
                </a:solidFill>
                <a:effectLst/>
                <a:uLnTx/>
                <a:uFillTx/>
                <a:latin typeface="Consolas" panose="020B0609020204030204" pitchFamily="49" charset="0"/>
                <a:ea typeface="+mn-ea"/>
                <a:cs typeface="+mn-cs"/>
              </a:rPr>
              <a:t>[CS_STAG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E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DimCustomers</a:t>
            </a:r>
            <a:endPar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endParaRPr>
          </a:p>
          <a:p>
            <a:pPr lvl="1">
              <a:defRPr/>
            </a:pPr>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SS_ST].</a:t>
            </a:r>
            <a:r>
              <a:rPr lang="en-US" err="1">
                <a:solidFill>
                  <a:srgbClr val="000000"/>
                </a:solidFill>
                <a:latin typeface="Consolas" panose="020B0609020204030204" pitchFamily="49" charset="0"/>
              </a:rPr>
              <a:t>DimCustomer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Reference_Doc_Number</a:t>
            </a:r>
            <a:r>
              <a:rPr lang="en-US">
                <a:solidFill>
                  <a:srgbClr val="808080"/>
                </a:solidFill>
                <a:latin typeface="Consolas" panose="020B0609020204030204" pitchFamily="49" charset="0"/>
              </a:rPr>
              <a:t>]), 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FF0000"/>
                </a:solidFill>
                <a:effectLst/>
                <a:uLnTx/>
                <a:uFillTx/>
                <a:latin typeface="Consolas" panose="020B0609020204030204" pitchFamily="49" charset="0"/>
                <a:ea typeface="+mn-ea"/>
                <a:cs typeface="+mn-cs"/>
              </a:rPr>
              <a:t>CS_DATAMART</a:t>
            </a:r>
            <a:r>
              <a:rPr kumimoji="0" lang="en-US" sz="1800" b="0" i="0" u="none" strike="sng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END</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596714" y="1280722"/>
            <a:ext cx="3921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a:t>
            </a:r>
            <a:r>
              <a:rPr lang="en-US">
                <a:solidFill>
                  <a:srgbClr val="000000"/>
                </a:solidFill>
                <a:latin typeface="Segoe UI"/>
              </a:rPr>
              <a:t>new schemas of the </a:t>
            </a:r>
            <a:r>
              <a:rPr kumimoji="0" lang="en-US" sz="1800" b="0" i="0" u="none" strike="noStrike" kern="1200" cap="none" spc="0" normalizeH="0" baseline="0" noProof="0">
                <a:ln>
                  <a:noFill/>
                </a:ln>
                <a:solidFill>
                  <a:srgbClr val="000000"/>
                </a:solidFill>
                <a:effectLst/>
                <a:uLnTx/>
                <a:uFillTx/>
                <a:latin typeface="Segoe UI"/>
                <a:ea typeface="+mn-ea"/>
                <a:cs typeface="+mn-cs"/>
              </a:rPr>
              <a:t>Target SQLDW Stored Procedures (SP) will be placed in places of APS schemas, with the mappings defined in the schema mapping configuration f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err="1">
                <a:ln>
                  <a:noFill/>
                </a:ln>
                <a:solidFill>
                  <a:srgbClr val="000000"/>
                </a:solidFill>
                <a:effectLst/>
                <a:uLnTx/>
                <a:uFillTx/>
                <a:latin typeface="Segoe UI"/>
                <a:ea typeface="+mn-ea"/>
                <a:cs typeface="+mn-cs"/>
              </a:rPr>
              <a:t>schema.cs</a:t>
            </a:r>
            <a:r>
              <a:rPr lang="en-US">
                <a:solidFill>
                  <a:srgbClr val="000000"/>
                </a:solidFill>
                <a:latin typeface="Segoe UI"/>
              </a:rPr>
              <a:t>’) explained earlier.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8817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Changes - Stored Procedure (SP) Sample</a:t>
            </a:r>
          </a:p>
        </p:txBody>
      </p:sp>
      <p:sp>
        <p:nvSpPr>
          <p:cNvPr id="4" name="TextBox 3">
            <a:extLst>
              <a:ext uri="{FF2B5EF4-FFF2-40B4-BE49-F238E27FC236}">
                <a16:creationId xmlns:a16="http://schemas.microsoft.com/office/drawing/2014/main" id="{DF6CC1F4-E214-43D2-9848-021D22E05AB5}"/>
              </a:ext>
            </a:extLst>
          </p:cNvPr>
          <p:cNvSpPr txBox="1"/>
          <p:nvPr/>
        </p:nvSpPr>
        <p:spPr>
          <a:xfrm>
            <a:off x="4631332" y="1243008"/>
            <a:ext cx="7196884" cy="4524315"/>
          </a:xfrm>
          <a:prstGeom prst="rect">
            <a:avLst/>
          </a:prstGeom>
          <a:noFill/>
        </p:spPr>
        <p:txBody>
          <a:bodyPr wrap="square" rtlCol="0">
            <a:spAutoFit/>
          </a:bodyPr>
          <a:lstStyle/>
          <a:p>
            <a:r>
              <a:rPr lang="en-US">
                <a:solidFill>
                  <a:srgbClr val="008000"/>
                </a:solidFill>
                <a:latin typeface="Consolas" panose="020B0609020204030204" pitchFamily="49" charset="0"/>
              </a:rPr>
              <a:t>-- Example SP in CS_STAGE DB after change. </a:t>
            </a:r>
          </a:p>
          <a:p>
            <a:r>
              <a:rPr lang="en-US" strike="sngStrike">
                <a:solidFill>
                  <a:srgbClr val="0000FF"/>
                </a:solidFill>
                <a:latin typeface="Consolas" panose="020B0609020204030204" pitchFamily="49" charset="0"/>
              </a:rPr>
              <a:t>CREAT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PROC</a:t>
            </a:r>
            <a:r>
              <a:rPr lang="en-US" strike="sngStrike">
                <a:solidFill>
                  <a:srgbClr val="000000"/>
                </a:solidFill>
                <a:latin typeface="Consolas" panose="020B0609020204030204" pitchFamily="49" charset="0"/>
              </a:rPr>
              <a:t> </a:t>
            </a:r>
            <a:r>
              <a:rPr lang="en-US" strike="sngStrike">
                <a:solidFill>
                  <a:srgbClr val="FF0000"/>
                </a:solidFill>
                <a:latin typeface="Consolas" panose="020B0609020204030204" pitchFamily="49" charset="0"/>
              </a:rPr>
              <a:t>[CSS]</a:t>
            </a:r>
            <a:r>
              <a:rPr lang="en-US" strike="sngStrike">
                <a:latin typeface="Consolas" panose="020B0609020204030204" pitchFamily="49" charset="0"/>
              </a:rPr>
              <a:t>.[</a:t>
            </a:r>
            <a:r>
              <a:rPr lang="en-US" strike="sngStrike" err="1">
                <a:solidFill>
                  <a:srgbClr val="000000"/>
                </a:solidFill>
                <a:latin typeface="Consolas" panose="020B0609020204030204" pitchFamily="49" charset="0"/>
              </a:rPr>
              <a:t>SP_Exampl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ROC</a:t>
            </a:r>
            <a:r>
              <a:rPr lang="en-US">
                <a:solidFill>
                  <a:srgbClr val="000000"/>
                </a:solidFill>
                <a:latin typeface="Consolas" panose="020B0609020204030204" pitchFamily="49" charset="0"/>
              </a:rPr>
              <a:t> </a:t>
            </a:r>
            <a:r>
              <a:rPr lang="en-US">
                <a:solidFill>
                  <a:srgbClr val="FF0000"/>
                </a:solidFill>
                <a:highlight>
                  <a:srgbClr val="FFFF00"/>
                </a:highlight>
                <a:latin typeface="Consolas" panose="020B0609020204030204" pitchFamily="49" charset="0"/>
              </a:rPr>
              <a:t>[CSS_ST]</a:t>
            </a:r>
            <a:r>
              <a:rPr lang="en-US">
                <a:latin typeface="Consolas" panose="020B0609020204030204" pitchFamily="49" charset="0"/>
              </a:rPr>
              <a:t>.[</a:t>
            </a:r>
            <a:r>
              <a:rPr lang="en-US" err="1">
                <a:solidFill>
                  <a:srgbClr val="000000"/>
                </a:solidFill>
                <a:latin typeface="Consolas" panose="020B0609020204030204" pitchFamily="49" charset="0"/>
              </a:rPr>
              <a:t>SP_Exampl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BEGIN</a:t>
            </a:r>
          </a:p>
          <a:p>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PHY_TMP_Customers</a:t>
            </a:r>
            <a:endParaRPr lang="en-US">
              <a:solidFill>
                <a:srgbClr val="000000"/>
              </a:solidFill>
              <a:latin typeface="Consolas" panose="020B0609020204030204" pitchFamily="49" charset="0"/>
            </a:endParaRPr>
          </a:p>
          <a:p>
            <a:pPr lvl="1"/>
            <a:r>
              <a:rPr lang="en-US" strike="sngStrike">
                <a:solidFill>
                  <a:srgbClr val="0000FF"/>
                </a:solidFill>
                <a:latin typeface="Consolas" panose="020B0609020204030204" pitchFamily="49" charset="0"/>
              </a:rPr>
              <a:t>WITH </a:t>
            </a:r>
            <a:r>
              <a:rPr lang="en-US" strike="sngStrike">
                <a:solidFill>
                  <a:srgbClr val="808080"/>
                </a:solidFill>
                <a:latin typeface="Consolas" panose="020B0609020204030204" pitchFamily="49" charset="0"/>
              </a:rPr>
              <a:t>(</a:t>
            </a:r>
            <a:r>
              <a:rPr lang="en-US" strike="sngStrike">
                <a:solidFill>
                  <a:srgbClr val="0000FF"/>
                </a:solidFill>
                <a:latin typeface="Consolas" panose="020B0609020204030204" pitchFamily="49" charset="0"/>
              </a:rPr>
              <a:t>DISTRIBUTION</a:t>
            </a:r>
            <a:r>
              <a:rPr lang="en-US" strike="sngStrike">
                <a:solidFill>
                  <a:srgbClr val="000000"/>
                </a:solidFill>
                <a:latin typeface="Consolas" panose="020B0609020204030204" pitchFamily="49" charset="0"/>
              </a:rPr>
              <a:t> </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Replicate</a:t>
            </a:r>
            <a:r>
              <a:rPr lang="en-US" strike="sngStrike">
                <a:solidFill>
                  <a:srgbClr val="808080"/>
                </a:solidFill>
                <a:latin typeface="Consolas" panose="020B0609020204030204" pitchFamily="49" charset="0"/>
              </a:rPr>
              <a:t>, </a:t>
            </a:r>
            <a:r>
              <a:rPr lang="en-US" strike="sngStrike">
                <a:solidFill>
                  <a:srgbClr val="0000FF"/>
                </a:solidFill>
                <a:latin typeface="Consolas" panose="020B0609020204030204" pitchFamily="49" charset="0"/>
              </a:rPr>
              <a:t>Location = </a:t>
            </a:r>
            <a:r>
              <a:rPr lang="en-US" strike="sngStrike" err="1">
                <a:solidFill>
                  <a:srgbClr val="0000FF"/>
                </a:solidFill>
                <a:latin typeface="Consolas" panose="020B0609020204030204" pitchFamily="49" charset="0"/>
              </a:rPr>
              <a:t>User_DB</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FF"/>
                </a:solidFill>
                <a:latin typeface="Consolas" panose="020B0609020204030204" pitchFamily="49" charset="0"/>
              </a:rPr>
              <a:t>DISTRIBUT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Round_Robin</a:t>
            </a:r>
            <a:r>
              <a:rPr lang="en-US">
                <a:solidFill>
                  <a:srgbClr val="FF0000"/>
                </a:solidFill>
                <a:highlight>
                  <a:srgbClr val="FFFF00"/>
                </a:highlight>
                <a:latin typeface="Consolas" panose="020B0609020204030204" pitchFamily="49" charset="0"/>
              </a:rPr>
              <a:t>, HEAP</a:t>
            </a:r>
            <a:r>
              <a:rPr lang="en-US">
                <a:solidFill>
                  <a:srgbClr val="808080"/>
                </a:solidFill>
                <a:latin typeface="Consolas" panose="020B0609020204030204" pitchFamily="49" charset="0"/>
              </a:rPr>
              <a:t>, </a:t>
            </a:r>
            <a:r>
              <a:rPr lang="en-US">
                <a:solidFill>
                  <a:srgbClr val="0000FF"/>
                </a:solidFill>
                <a:latin typeface="Consolas" panose="020B0609020204030204" pitchFamily="49" charset="0"/>
              </a:rPr>
              <a:t>Location = </a:t>
            </a:r>
            <a:r>
              <a:rPr lang="en-US" err="1">
                <a:solidFill>
                  <a:srgbClr val="0000FF"/>
                </a:solidFill>
                <a:latin typeface="Consolas" panose="020B0609020204030204" pitchFamily="49" charset="0"/>
              </a:rPr>
              <a:t>User_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SELECT</a:t>
            </a:r>
            <a:endParaRPr lang="en-US">
              <a:solidFill>
                <a:srgbClr val="000000"/>
              </a:solidFill>
              <a:latin typeface="Consolas" panose="020B0609020204030204" pitchFamily="49" charset="0"/>
            </a:endParaRPr>
          </a:p>
          <a:p>
            <a:pPr lvl="1"/>
            <a:r>
              <a:rPr lang="en-US">
                <a:solidFill>
                  <a:srgbClr val="000000"/>
                </a:solidFill>
                <a:latin typeface="Consolas" panose="020B0609020204030204" pitchFamily="49" charset="0"/>
              </a:rPr>
              <a:t>……</a:t>
            </a:r>
          </a:p>
          <a:p>
            <a:pPr lvl="1"/>
            <a:r>
              <a:rPr lang="en-US" strike="sngStrike">
                <a:solidFill>
                  <a:srgbClr val="0000FF"/>
                </a:solidFill>
                <a:latin typeface="Consolas" panose="020B0609020204030204" pitchFamily="49" charset="0"/>
              </a:rPr>
              <a:t>FROM</a:t>
            </a:r>
            <a:r>
              <a:rPr lang="en-US" strike="sngStrike">
                <a:solidFill>
                  <a:srgbClr val="000000"/>
                </a:solidFill>
                <a:latin typeface="Consolas" panose="020B0609020204030204" pitchFamily="49" charset="0"/>
              </a:rPr>
              <a:t> </a:t>
            </a:r>
            <a:r>
              <a:rPr lang="en-US" strike="sngStrike" err="1">
                <a:solidFill>
                  <a:srgbClr val="FF0000"/>
                </a:solidFill>
                <a:latin typeface="Consolas" panose="020B0609020204030204" pitchFamily="49" charset="0"/>
              </a:rPr>
              <a:t>CS_DATAMART.CSS</a:t>
            </a:r>
            <a:r>
              <a:rPr lang="en-US" strike="sngStrike" err="1">
                <a:solidFill>
                  <a:srgbClr val="808080"/>
                </a:solidFill>
                <a:latin typeface="Consolas" panose="020B0609020204030204" pitchFamily="49" charset="0"/>
              </a:rPr>
              <a:t>.</a:t>
            </a:r>
            <a:r>
              <a:rPr lang="en-US" strike="sngStrike" err="1">
                <a:solidFill>
                  <a:srgbClr val="000000"/>
                </a:solidFill>
                <a:latin typeface="Consolas" panose="020B0609020204030204" pitchFamily="49" charset="0"/>
              </a:rPr>
              <a:t>Customer_Attributes_Curren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r>
              <a:rPr lang="en-US" strike="sngStrike">
                <a:solidFill>
                  <a:srgbClr val="000000"/>
                </a:solidFill>
                <a:latin typeface="Consolas" panose="020B0609020204030204" pitchFamily="49" charset="0"/>
              </a:rPr>
              <a:t> CA</a:t>
            </a:r>
          </a:p>
          <a:p>
            <a:pPr lvl="1"/>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CSS_DM</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Customer_Attributes_Curren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r>
              <a:rPr lang="en-US">
                <a:solidFill>
                  <a:srgbClr val="000000"/>
                </a:solidFill>
                <a:latin typeface="Consolas" panose="020B0609020204030204" pitchFamily="49" charset="0"/>
              </a:rPr>
              <a:t> CA</a:t>
            </a:r>
          </a:p>
          <a:p>
            <a:r>
              <a:rPr lang="en-US">
                <a:solidFill>
                  <a:srgbClr val="0000FF"/>
                </a:solidFill>
                <a:latin typeface="Consolas" panose="020B0609020204030204" pitchFamily="49" charset="0"/>
              </a:rPr>
              <a:t>END</a:t>
            </a:r>
            <a:endParaRPr lang="en-US">
              <a:solidFill>
                <a:srgbClr val="000000"/>
              </a:solidFill>
              <a:latin typeface="Consolas" panose="020B0609020204030204" pitchFamily="49" charset="0"/>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198925"/>
            <a:ext cx="3921340" cy="4247317"/>
          </a:xfrm>
          <a:prstGeom prst="rect">
            <a:avLst/>
          </a:prstGeom>
          <a:noFill/>
        </p:spPr>
        <p:txBody>
          <a:bodyPr wrap="square" rtlCol="0">
            <a:spAutoFit/>
          </a:bodyPr>
          <a:lstStyle/>
          <a:p>
            <a:r>
              <a:rPr lang="en-US"/>
              <a:t>Same DDL schema mapping rules apply to SP. </a:t>
            </a:r>
          </a:p>
          <a:p>
            <a:endParaRPr lang="en-US"/>
          </a:p>
          <a:p>
            <a:r>
              <a:rPr lang="en-US"/>
              <a:t>The schema mapping and changes must be performed for all “Create Proc” and “Create Table” Statements. The same changes must be performed for </a:t>
            </a:r>
            <a:r>
              <a:rPr lang="en-US" b="1"/>
              <a:t>all other tables that are referenced by the SP</a:t>
            </a:r>
            <a:r>
              <a:rPr lang="en-US"/>
              <a:t>. </a:t>
            </a:r>
          </a:p>
          <a:p>
            <a:endParaRPr lang="en-US"/>
          </a:p>
          <a:p>
            <a:r>
              <a:rPr lang="en-US"/>
              <a:t>Examine all “Create Table” statements. Add </a:t>
            </a:r>
            <a:r>
              <a:rPr lang="en-US">
                <a:solidFill>
                  <a:srgbClr val="FF0000"/>
                </a:solidFill>
              </a:rPr>
              <a:t>“, HEAP</a:t>
            </a:r>
            <a:r>
              <a:rPr lang="en-US"/>
              <a:t>” explicitly if the CREATE TABLE does not explicitly state the table index type.   </a:t>
            </a:r>
          </a:p>
          <a:p>
            <a:endParaRPr lang="en-US"/>
          </a:p>
        </p:txBody>
      </p:sp>
      <p:grpSp>
        <p:nvGrpSpPr>
          <p:cNvPr id="5" name="Group 4">
            <a:extLst>
              <a:ext uri="{FF2B5EF4-FFF2-40B4-BE49-F238E27FC236}">
                <a16:creationId xmlns:a16="http://schemas.microsoft.com/office/drawing/2014/main" id="{9A604C28-1239-4AEF-B087-91FC4610752D}"/>
              </a:ext>
            </a:extLst>
          </p:cNvPr>
          <p:cNvGrpSpPr>
            <a:grpSpLocks noChangeAspect="1"/>
          </p:cNvGrpSpPr>
          <p:nvPr/>
        </p:nvGrpSpPr>
        <p:grpSpPr>
          <a:xfrm>
            <a:off x="340544" y="240226"/>
            <a:ext cx="385625" cy="553998"/>
            <a:chOff x="10785485" y="3375598"/>
            <a:chExt cx="455613" cy="604838"/>
          </a:xfrm>
        </p:grpSpPr>
        <p:sp>
          <p:nvSpPr>
            <p:cNvPr id="7" name="Freeform 80">
              <a:extLst>
                <a:ext uri="{FF2B5EF4-FFF2-40B4-BE49-F238E27FC236}">
                  <a16:creationId xmlns:a16="http://schemas.microsoft.com/office/drawing/2014/main" id="{CFB3EA56-8AFF-4880-8544-F463BE2E274B}"/>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FD964AC-5788-49F8-87B0-9BB976EB4315}"/>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E9AA1442-92A2-415D-BD3C-BE6A8D15236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8E797C2-43DD-4386-B4DA-CF4C78BBBAF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98ACB65D-9754-4F4F-BE8F-95851D746D6E}"/>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3EB71A5-1859-4C2D-B2A6-66C0F7847478}"/>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06A18117-9771-4762-8DE1-13EA0A7BE065}"/>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2889A16A-23CE-4889-B610-9386729E148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CEDF3387-499F-4C0B-ADC7-7A67D885E63E}"/>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8A3F88E-A72F-4CD7-BE52-A70900E652C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B8FD357-9D9B-47FE-92C3-67FF6E4D54E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8AD66841-2171-48B6-984F-2988E957846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55487CEF-F5F3-4926-80DF-438778FF862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6547077C-4CFF-4808-B771-C0515C955C23}"/>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9C6576B-60C5-4A13-AAD9-D457823022B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5CF702B7-964B-4006-8943-664E3BD75213}"/>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4652288D-D832-4429-B198-19C91671D1F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4161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Pre-Assessment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864C1EFC-A0AD-484E-892A-C054B28E1D92}"/>
              </a:ext>
            </a:extLst>
          </p:cNvPr>
          <p:cNvSpPr txBox="1"/>
          <p:nvPr/>
        </p:nvSpPr>
        <p:spPr>
          <a:xfrm>
            <a:off x="394447" y="1030355"/>
            <a:ext cx="11467815" cy="552489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ssessment script to gather information on the APS system to better enable an accurate estimate for the migration.  This script captures the following info:</a:t>
            </a:r>
          </a:p>
          <a:p>
            <a:pPr>
              <a:lnSpc>
                <a:spcPct val="90000"/>
              </a:lnSpc>
              <a:spcAft>
                <a:spcPts val="600"/>
              </a:spcAft>
            </a:pPr>
            <a:endParaRPr lang="en-US" sz="16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dirty="0"/>
              <a:t>Version of the APS system – @@version - Version_{Datetime}.csv</a:t>
            </a:r>
          </a:p>
          <a:p>
            <a:pPr marL="457200" indent="-457200">
              <a:lnSpc>
                <a:spcPct val="90000"/>
              </a:lnSpc>
              <a:spcAft>
                <a:spcPts val="600"/>
              </a:spcAft>
              <a:buFont typeface="+mj-lt"/>
              <a:buAutoNum type="arabicPeriod"/>
            </a:pPr>
            <a:r>
              <a:rPr lang="en-US" sz="1600" dirty="0"/>
              <a:t>Count of all objects in all DB’s in the APS. – </a:t>
            </a:r>
            <a:r>
              <a:rPr lang="en-US" sz="1600" dirty="0" err="1"/>
              <a:t>sys.objects</a:t>
            </a:r>
            <a:r>
              <a:rPr lang="en-US" sz="1600" dirty="0"/>
              <a:t> - ObjectCount_{Datetime}.csv</a:t>
            </a:r>
          </a:p>
          <a:p>
            <a:pPr marL="457200" indent="-457200">
              <a:lnSpc>
                <a:spcPct val="90000"/>
              </a:lnSpc>
              <a:spcAft>
                <a:spcPts val="600"/>
              </a:spcAft>
              <a:buFont typeface="+mj-lt"/>
              <a:buAutoNum type="arabicPeriod"/>
            </a:pPr>
            <a:r>
              <a:rPr lang="en-US" sz="1600" dirty="0"/>
              <a:t>List of all tables and their attributes (distribution type, # partitions, storage type and Distribution column) – various system tables – TableMetadata_{DateTime}.csv</a:t>
            </a:r>
          </a:p>
          <a:p>
            <a:pPr marL="457200" indent="-457200">
              <a:lnSpc>
                <a:spcPct val="90000"/>
              </a:lnSpc>
              <a:spcAft>
                <a:spcPts val="600"/>
              </a:spcAft>
              <a:buFont typeface="+mj-lt"/>
              <a:buAutoNum type="arabicPeriod"/>
            </a:pPr>
            <a:r>
              <a:rPr lang="en-US" sz="1600" dirty="0"/>
              <a:t>Listing of the </a:t>
            </a:r>
            <a:r>
              <a:rPr lang="en-US" sz="1600" dirty="0" err="1"/>
              <a:t>ShowSpaceUsed</a:t>
            </a:r>
            <a:r>
              <a:rPr lang="en-US" sz="1600" dirty="0"/>
              <a:t> for all tables. – DBCC </a:t>
            </a:r>
            <a:r>
              <a:rPr lang="en-US" sz="1600" dirty="0" err="1"/>
              <a:t>pdw_showspaceused</a:t>
            </a:r>
            <a:r>
              <a:rPr lang="en-US" sz="1600" dirty="0"/>
              <a:t> – ShowSpaceUsed_{Datetime}.csv</a:t>
            </a:r>
          </a:p>
          <a:p>
            <a:pPr marL="457200" indent="-457200">
              <a:lnSpc>
                <a:spcPct val="90000"/>
              </a:lnSpc>
              <a:spcAft>
                <a:spcPts val="600"/>
              </a:spcAft>
              <a:buFont typeface="+mj-lt"/>
              <a:buAutoNum type="arabicPeriod"/>
            </a:pPr>
            <a:r>
              <a:rPr lang="en-US" sz="1600" dirty="0"/>
              <a:t>Report the number of nodes and total number of distributions on the APS.</a:t>
            </a:r>
          </a:p>
          <a:p>
            <a:pPr marL="457200" indent="-457200">
              <a:lnSpc>
                <a:spcPct val="90000"/>
              </a:lnSpc>
              <a:spcAft>
                <a:spcPts val="600"/>
              </a:spcAft>
              <a:buFont typeface="+mj-lt"/>
              <a:buAutoNum type="arabicPeriod"/>
            </a:pPr>
            <a:r>
              <a:rPr lang="en-US" sz="1600" dirty="0"/>
              <a:t>List of Tables with table name, schema name, and database name in a CSV file that can be used to script out the "Create Table" Statements. </a:t>
            </a:r>
          </a:p>
          <a:p>
            <a:pPr marL="457200" indent="-457200">
              <a:lnSpc>
                <a:spcPct val="90000"/>
              </a:lnSpc>
              <a:spcAft>
                <a:spcPts val="600"/>
              </a:spcAft>
              <a:buFont typeface="+mj-lt"/>
              <a:buAutoNum type="arabicPeriod"/>
            </a:pPr>
            <a:r>
              <a:rPr lang="en-US" sz="1600" dirty="0"/>
              <a:t>List of Views with view name, schema name, and database name in a CSV file that can be used to script out the "Create View" Statements. </a:t>
            </a:r>
          </a:p>
          <a:p>
            <a:pPr marL="457200" indent="-457200">
              <a:lnSpc>
                <a:spcPct val="90000"/>
              </a:lnSpc>
              <a:spcAft>
                <a:spcPts val="600"/>
              </a:spcAft>
              <a:buFont typeface="+mj-lt"/>
              <a:buAutoNum type="arabicPeriod"/>
            </a:pPr>
            <a:r>
              <a:rPr lang="en-US" sz="1600" dirty="0"/>
              <a:t>List of Stored Procedures with stored procedure name, schema name, and database name in a CSV file that can be used to script out the "Create Proc" Statements. </a:t>
            </a:r>
            <a:r>
              <a:rPr lang="en-US" sz="1600" dirty="0">
                <a:gradFill>
                  <a:gsLst>
                    <a:gs pos="2917">
                      <a:schemeClr val="tx1"/>
                    </a:gs>
                    <a:gs pos="30000">
                      <a:schemeClr val="tx1"/>
                    </a:gs>
                  </a:gsLst>
                  <a:lin ang="5400000" scaled="0"/>
                </a:gradFill>
              </a:rPr>
              <a:t>  </a:t>
            </a:r>
          </a:p>
          <a:p>
            <a:pPr>
              <a:lnSpc>
                <a:spcPct val="90000"/>
              </a:lnSpc>
              <a:spcAft>
                <a:spcPts val="600"/>
              </a:spcAft>
            </a:pPr>
            <a:r>
              <a:rPr lang="en-US" sz="1600" dirty="0">
                <a:gradFill>
                  <a:gsLst>
                    <a:gs pos="2917">
                      <a:schemeClr val="tx1"/>
                    </a:gs>
                    <a:gs pos="30000">
                      <a:schemeClr val="tx1"/>
                    </a:gs>
                  </a:gsLst>
                  <a:lin ang="5400000" scaled="0"/>
                </a:gradFill>
              </a:rPr>
              <a:t>Notes:  </a:t>
            </a:r>
          </a:p>
          <a:p>
            <a:pPr>
              <a:lnSpc>
                <a:spcPct val="90000"/>
              </a:lnSpc>
              <a:spcAft>
                <a:spcPts val="600"/>
              </a:spcAft>
            </a:pPr>
            <a:r>
              <a:rPr lang="en-US" sz="1600" dirty="0">
                <a:gradFill>
                  <a:gsLst>
                    <a:gs pos="2917">
                      <a:schemeClr val="tx1"/>
                    </a:gs>
                    <a:gs pos="30000">
                      <a:schemeClr val="tx1"/>
                    </a:gs>
                  </a:gsLst>
                  <a:lin ang="5400000" scaled="0"/>
                </a:gradFill>
              </a:rPr>
              <a:t>	Uses Invoke-</a:t>
            </a:r>
            <a:r>
              <a:rPr lang="en-US" sz="1600" dirty="0" err="1">
                <a:gradFill>
                  <a:gsLst>
                    <a:gs pos="2917">
                      <a:schemeClr val="tx1"/>
                    </a:gs>
                    <a:gs pos="30000">
                      <a:schemeClr val="tx1"/>
                    </a:gs>
                  </a:gsLst>
                  <a:lin ang="5400000" scaled="0"/>
                </a:gradFill>
              </a:rPr>
              <a:t>sqlcmd</a:t>
            </a:r>
            <a:endParaRPr lang="en-US" sz="1600" dirty="0">
              <a:gradFill>
                <a:gsLst>
                  <a:gs pos="2917">
                    <a:schemeClr val="tx1"/>
                  </a:gs>
                  <a:gs pos="30000">
                    <a:schemeClr val="tx1"/>
                  </a:gs>
                </a:gsLst>
                <a:lin ang="5400000" scaled="0"/>
              </a:gradFill>
            </a:endParaRPr>
          </a:p>
          <a:p>
            <a:pPr marL="914400">
              <a:lnSpc>
                <a:spcPct val="90000"/>
              </a:lnSpc>
              <a:spcAft>
                <a:spcPts val="600"/>
              </a:spcAft>
            </a:pPr>
            <a:r>
              <a:rPr lang="en-US" sz="1600" dirty="0" err="1">
                <a:gradFill>
                  <a:gsLst>
                    <a:gs pos="2917">
                      <a:schemeClr val="tx1"/>
                    </a:gs>
                    <a:gs pos="30000">
                      <a:schemeClr val="tx1"/>
                    </a:gs>
                  </a:gsLst>
                  <a:lin ang="5400000" scaled="0"/>
                </a:gradFill>
              </a:rPr>
              <a:t>Dbcc</a:t>
            </a:r>
            <a:r>
              <a:rPr lang="en-US" sz="1600" dirty="0">
                <a:gradFill>
                  <a:gsLst>
                    <a:gs pos="2917">
                      <a:schemeClr val="tx1"/>
                    </a:gs>
                    <a:gs pos="30000">
                      <a:schemeClr val="tx1"/>
                    </a:gs>
                  </a:gsLst>
                  <a:lin ang="5400000" scaled="0"/>
                </a:gradFill>
              </a:rPr>
              <a:t> </a:t>
            </a:r>
            <a:r>
              <a:rPr lang="en-US" sz="1600" dirty="0" err="1">
                <a:gradFill>
                  <a:gsLst>
                    <a:gs pos="2917">
                      <a:schemeClr val="tx1"/>
                    </a:gs>
                    <a:gs pos="30000">
                      <a:schemeClr val="tx1"/>
                    </a:gs>
                  </a:gsLst>
                  <a:lin ang="5400000" scaled="0"/>
                </a:gradFill>
              </a:rPr>
              <a:t>pdw_showspaceused</a:t>
            </a:r>
            <a:r>
              <a:rPr lang="en-US" sz="1600" dirty="0">
                <a:gradFill>
                  <a:gsLst>
                    <a:gs pos="2917">
                      <a:schemeClr val="tx1"/>
                    </a:gs>
                    <a:gs pos="30000">
                      <a:schemeClr val="tx1"/>
                    </a:gs>
                  </a:gsLst>
                  <a:lin ang="5400000" scaled="0"/>
                </a:gradFill>
              </a:rPr>
              <a:t> – errors on external tables but continues to run.  Using </a:t>
            </a:r>
            <a:r>
              <a:rPr lang="en-US" sz="1600" dirty="0" err="1">
                <a:gradFill>
                  <a:gsLst>
                    <a:gs pos="2917">
                      <a:schemeClr val="tx1"/>
                    </a:gs>
                    <a:gs pos="30000">
                      <a:schemeClr val="tx1"/>
                    </a:gs>
                  </a:gsLst>
                  <a:lin ang="5400000" scaled="0"/>
                </a:gradFill>
              </a:rPr>
              <a:t>is_external</a:t>
            </a:r>
            <a:r>
              <a:rPr lang="en-US" sz="1600" dirty="0">
                <a:gradFill>
                  <a:gsLst>
                    <a:gs pos="2917">
                      <a:schemeClr val="tx1"/>
                    </a:gs>
                    <a:gs pos="30000">
                      <a:schemeClr val="tx1"/>
                    </a:gs>
                  </a:gsLst>
                  <a:lin ang="5400000" scaled="0"/>
                </a:gradFill>
              </a:rPr>
              <a:t> to filter the tables can cause errors on older versions of APS.  </a:t>
            </a:r>
          </a:p>
        </p:txBody>
      </p:sp>
    </p:spTree>
    <p:extLst>
      <p:ext uri="{BB962C8B-B14F-4D97-AF65-F5344CB8AC3E}">
        <p14:creationId xmlns:p14="http://schemas.microsoft.com/office/powerpoint/2010/main" val="19307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T_TILE" val="YES"/>
</p:tagLst>
</file>

<file path=ppt/tags/tag58.xml><?xml version="1.0" encoding="utf-8"?>
<p:tagLst xmlns:a="http://schemas.openxmlformats.org/drawingml/2006/main" xmlns:r="http://schemas.openxmlformats.org/officeDocument/2006/relationships" xmlns:p="http://schemas.openxmlformats.org/presentationml/2006/main">
  <p:tag name="MT_TILE" val="YES"/>
</p:tagLst>
</file>

<file path=ppt/tags/tag59.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61.xml><?xml version="1.0" encoding="utf-8"?>
<p:tagLst xmlns:a="http://schemas.openxmlformats.org/drawingml/2006/main" xmlns:r="http://schemas.openxmlformats.org/officeDocument/2006/relationships" xmlns:p="http://schemas.openxmlformats.org/presentationml/2006/main">
  <p:tag name="MT_TILE" val="YES"/>
</p:tagLst>
</file>

<file path=ppt/tags/tag62.xml><?xml version="1.0" encoding="utf-8"?>
<p:tagLst xmlns:a="http://schemas.openxmlformats.org/drawingml/2006/main" xmlns:r="http://schemas.openxmlformats.org/officeDocument/2006/relationships" xmlns:p="http://schemas.openxmlformats.org/presentationml/2006/main">
  <p:tag name="MT_TILE" val="YES"/>
</p:tagLst>
</file>

<file path=ppt/tags/tag63.xml><?xml version="1.0" encoding="utf-8"?>
<p:tagLst xmlns:a="http://schemas.openxmlformats.org/drawingml/2006/main" xmlns:r="http://schemas.openxmlformats.org/officeDocument/2006/relationships" xmlns:p="http://schemas.openxmlformats.org/presentationml/2006/main">
  <p:tag name="MT_TILE" val="YES"/>
</p:tagLst>
</file>

<file path=ppt/tags/tag64.xml><?xml version="1.0" encoding="utf-8"?>
<p:tagLst xmlns:a="http://schemas.openxmlformats.org/drawingml/2006/main" xmlns:r="http://schemas.openxmlformats.org/officeDocument/2006/relationships" xmlns:p="http://schemas.openxmlformats.org/presentationml/2006/main">
  <p:tag name="MT_TILE" val="YES"/>
</p:tagLst>
</file>

<file path=ppt/tags/tag65.xml><?xml version="1.0" encoding="utf-8"?>
<p:tagLst xmlns:a="http://schemas.openxmlformats.org/drawingml/2006/main" xmlns:r="http://schemas.openxmlformats.org/officeDocument/2006/relationships" xmlns:p="http://schemas.openxmlformats.org/presentationml/2006/main">
  <p:tag name="MT_TILE" val="YES"/>
</p:tagLst>
</file>

<file path=ppt/tags/tag66.xml><?xml version="1.0" encoding="utf-8"?>
<p:tagLst xmlns:a="http://schemas.openxmlformats.org/drawingml/2006/main" xmlns:r="http://schemas.openxmlformats.org/officeDocument/2006/relationships" xmlns:p="http://schemas.openxmlformats.org/presentationml/2006/main">
  <p:tag name="MT_TILE" val="YES"/>
</p:tagLst>
</file>

<file path=ppt/tags/tag67.xml><?xml version="1.0" encoding="utf-8"?>
<p:tagLst xmlns:a="http://schemas.openxmlformats.org/drawingml/2006/main" xmlns:r="http://schemas.openxmlformats.org/officeDocument/2006/relationships" xmlns:p="http://schemas.openxmlformats.org/presentationml/2006/main">
  <p:tag name="MT_TILE" val="YES"/>
</p:tagLst>
</file>

<file path=ppt/tags/tag68.xml><?xml version="1.0" encoding="utf-8"?>
<p:tagLst xmlns:a="http://schemas.openxmlformats.org/drawingml/2006/main" xmlns:r="http://schemas.openxmlformats.org/officeDocument/2006/relationships" xmlns:p="http://schemas.openxmlformats.org/presentationml/2006/main">
  <p:tag name="MT_TILE" val="YES"/>
</p:tagLst>
</file>

<file path=ppt/tags/tag69.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70.xml><?xml version="1.0" encoding="utf-8"?>
<p:tagLst xmlns:a="http://schemas.openxmlformats.org/drawingml/2006/main" xmlns:r="http://schemas.openxmlformats.org/officeDocument/2006/relationships" xmlns:p="http://schemas.openxmlformats.org/presentationml/2006/main">
  <p:tag name="MT_TILE" val="YES"/>
</p:tagLst>
</file>

<file path=ppt/tags/tag71.xml><?xml version="1.0" encoding="utf-8"?>
<p:tagLst xmlns:a="http://schemas.openxmlformats.org/drawingml/2006/main" xmlns:r="http://schemas.openxmlformats.org/officeDocument/2006/relationships" xmlns:p="http://schemas.openxmlformats.org/presentationml/2006/main">
  <p:tag name="MT_TILE" val="YES"/>
</p:tagLst>
</file>

<file path=ppt/tags/tag72.xml><?xml version="1.0" encoding="utf-8"?>
<p:tagLst xmlns:a="http://schemas.openxmlformats.org/drawingml/2006/main" xmlns:r="http://schemas.openxmlformats.org/officeDocument/2006/relationships" xmlns:p="http://schemas.openxmlformats.org/presentationml/2006/main">
  <p:tag name="MT_TILE" val="YES"/>
</p:tagLst>
</file>

<file path=ppt/tags/tag73.xml><?xml version="1.0" encoding="utf-8"?>
<p:tagLst xmlns:a="http://schemas.openxmlformats.org/drawingml/2006/main" xmlns:r="http://schemas.openxmlformats.org/officeDocument/2006/relationships" xmlns:p="http://schemas.openxmlformats.org/presentationml/2006/main">
  <p:tag name="MT_TILE" val="YES"/>
</p:tagLst>
</file>

<file path=ppt/tags/tag74.xml><?xml version="1.0" encoding="utf-8"?>
<p:tagLst xmlns:a="http://schemas.openxmlformats.org/drawingml/2006/main" xmlns:r="http://schemas.openxmlformats.org/officeDocument/2006/relationships" xmlns:p="http://schemas.openxmlformats.org/presentationml/2006/main">
  <p:tag name="MT_TILE" val="YES"/>
</p:tagLst>
</file>

<file path=ppt/tags/tag75.xml><?xml version="1.0" encoding="utf-8"?>
<p:tagLst xmlns:a="http://schemas.openxmlformats.org/drawingml/2006/main" xmlns:r="http://schemas.openxmlformats.org/officeDocument/2006/relationships" xmlns:p="http://schemas.openxmlformats.org/presentationml/2006/main">
  <p:tag name="MT_TILE" val="YES"/>
</p:tagLst>
</file>

<file path=ppt/tags/tag76.xml><?xml version="1.0" encoding="utf-8"?>
<p:tagLst xmlns:a="http://schemas.openxmlformats.org/drawingml/2006/main" xmlns:r="http://schemas.openxmlformats.org/officeDocument/2006/relationships" xmlns:p="http://schemas.openxmlformats.org/presentationml/2006/main">
  <p:tag name="MT_TILE" val="YES"/>
</p:tagLst>
</file>

<file path=ppt/tags/tag77.xml><?xml version="1.0" encoding="utf-8"?>
<p:tagLst xmlns:a="http://schemas.openxmlformats.org/drawingml/2006/main" xmlns:r="http://schemas.openxmlformats.org/officeDocument/2006/relationships" xmlns:p="http://schemas.openxmlformats.org/presentationml/2006/main">
  <p:tag name="MT_TILE" val="YES"/>
</p:tagLst>
</file>

<file path=ppt/tags/tag78.xml><?xml version="1.0" encoding="utf-8"?>
<p:tagLst xmlns:a="http://schemas.openxmlformats.org/drawingml/2006/main" xmlns:r="http://schemas.openxmlformats.org/officeDocument/2006/relationships" xmlns:p="http://schemas.openxmlformats.org/presentationml/2006/main">
  <p:tag name="MT_TILE" val="YES"/>
</p:tagLst>
</file>

<file path=ppt/tags/tag79.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80.xml><?xml version="1.0" encoding="utf-8"?>
<p:tagLst xmlns:a="http://schemas.openxmlformats.org/drawingml/2006/main" xmlns:r="http://schemas.openxmlformats.org/officeDocument/2006/relationships" xmlns:p="http://schemas.openxmlformats.org/presentationml/2006/main">
  <p:tag name="MT_TILE" val="YES"/>
</p:tagLst>
</file>

<file path=ppt/tags/tag81.xml><?xml version="1.0" encoding="utf-8"?>
<p:tagLst xmlns:a="http://schemas.openxmlformats.org/drawingml/2006/main" xmlns:r="http://schemas.openxmlformats.org/officeDocument/2006/relationships" xmlns:p="http://schemas.openxmlformats.org/presentationml/2006/main">
  <p:tag name="MT_TILE" val="YES"/>
</p:tagLst>
</file>

<file path=ppt/tags/tag82.xml><?xml version="1.0" encoding="utf-8"?>
<p:tagLst xmlns:a="http://schemas.openxmlformats.org/drawingml/2006/main" xmlns:r="http://schemas.openxmlformats.org/officeDocument/2006/relationships" xmlns:p="http://schemas.openxmlformats.org/presentationml/2006/main">
  <p:tag name="MT_TILE" val="YES"/>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2.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8.potx" id="{460F357C-E2AC-4053-B34D-CDC1E857F44A}" vid="{D457EFB2-ABF8-447D-8C67-3714B4DBFFE1}"/>
    </a:ext>
  </a:extLst>
</a:theme>
</file>

<file path=ppt/theme/theme3.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0242BDE30F014F83329AA536B70806" ma:contentTypeVersion="8" ma:contentTypeDescription="Create a new document." ma:contentTypeScope="" ma:versionID="b574e4e36304a5d3dc8b869e43a3722f">
  <xsd:schema xmlns:xsd="http://www.w3.org/2001/XMLSchema" xmlns:xs="http://www.w3.org/2001/XMLSchema" xmlns:p="http://schemas.microsoft.com/office/2006/metadata/properties" xmlns:ns2="b018db0b-322c-4925-9fdb-2f34949f0610" xmlns:ns3="738c2dd8-7dd6-440d-aa04-76a8929a2564" targetNamespace="http://schemas.microsoft.com/office/2006/metadata/properties" ma:root="true" ma:fieldsID="94a415895028a325dd09a0449796a490" ns2:_="" ns3:_="">
    <xsd:import namespace="b018db0b-322c-4925-9fdb-2f34949f0610"/>
    <xsd:import namespace="738c2dd8-7dd6-440d-aa04-76a8929a256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18db0b-322c-4925-9fdb-2f34949f06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8c2dd8-7dd6-440d-aa04-76a8929a256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6CC739-015A-4058-A4A4-A3ED4896C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18db0b-322c-4925-9fdb-2f34949f0610"/>
    <ds:schemaRef ds:uri="738c2dd8-7dd6-440d-aa04-76a8929a25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326A94-B7EB-4470-ADA2-DAF2DC996027}">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b018db0b-322c-4925-9fdb-2f34949f0610"/>
    <ds:schemaRef ds:uri="http://purl.org/dc/dcmitype/"/>
    <ds:schemaRef ds:uri="http://schemas.microsoft.com/office/infopath/2007/PartnerControls"/>
    <ds:schemaRef ds:uri="738c2dd8-7dd6-440d-aa04-76a8929a2564"/>
    <ds:schemaRef ds:uri="http://www.w3.org/XML/1998/namespace"/>
  </ds:schemaRefs>
</ds:datastoreItem>
</file>

<file path=customXml/itemProps3.xml><?xml version="1.0" encoding="utf-8"?>
<ds:datastoreItem xmlns:ds="http://schemas.openxmlformats.org/officeDocument/2006/customXml" ds:itemID="{7DA3435C-DE63-49C3-BD11-13F3638EB8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042</TotalTime>
  <Words>12388</Words>
  <Application>Microsoft Office PowerPoint</Application>
  <PresentationFormat>Widescreen</PresentationFormat>
  <Paragraphs>1908</Paragraphs>
  <Slides>81</Slides>
  <Notes>81</Notes>
  <HiddenSlides>3</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81</vt:i4>
      </vt:variant>
    </vt:vector>
  </HeadingPairs>
  <TitlesOfParts>
    <vt:vector size="98" baseType="lpstr">
      <vt:lpstr>Segoe</vt:lpstr>
      <vt:lpstr>Arial</vt:lpstr>
      <vt:lpstr>Calibri</vt:lpstr>
      <vt:lpstr>Calibri Light</vt:lpstr>
      <vt:lpstr>Consolas</vt:lpstr>
      <vt:lpstr>Segoe UI</vt:lpstr>
      <vt:lpstr>Segoe UI Light</vt:lpstr>
      <vt:lpstr>Segoe UI Semibold</vt:lpstr>
      <vt:lpstr>Segoe UI Semilight</vt:lpstr>
      <vt:lpstr>Times New Roman</vt:lpstr>
      <vt:lpstr>Wingdings</vt:lpstr>
      <vt:lpstr>5-50113_Microsoft_Ready_Light_Template</vt:lpstr>
      <vt:lpstr>WHITE TEMPLATE</vt:lpstr>
      <vt:lpstr>1_Theme1</vt:lpstr>
      <vt:lpstr>1_Office Theme</vt:lpstr>
      <vt:lpstr>SDM PPT Template</vt:lpstr>
      <vt:lpstr>think-cell Slide</vt:lpstr>
      <vt:lpstr>APS to SQLDW Mig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S to SQLDW Migration</dc:title>
  <dc:creator/>
  <cp:lastModifiedBy>Gaiye Zhou</cp:lastModifiedBy>
  <cp:revision>24</cp:revision>
  <dcterms:modified xsi:type="dcterms:W3CDTF">2018-11-14T19:2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omibrahi@microsoft.com</vt:lpwstr>
  </property>
  <property fmtid="{D5CDD505-2E9C-101B-9397-08002B2CF9AE}" pid="6" name="MSIP_Label_f42aa342-8706-4288-bd11-ebb85995028c_SetDate">
    <vt:lpwstr>2017-10-11T11:24:54.2722172-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90242BDE30F014F83329AA536B70806</vt:lpwstr>
  </property>
</Properties>
</file>